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8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9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0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1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2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3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4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5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6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7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8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9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20.xml" ContentType="application/vnd.openxmlformats-officedocument.them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1" r:id="rId1"/>
    <p:sldMasterId id="2147484292" r:id="rId2"/>
    <p:sldMasterId id="2147484537" r:id="rId3"/>
    <p:sldMasterId id="2147484319" r:id="rId4"/>
    <p:sldMasterId id="2147484353" r:id="rId5"/>
    <p:sldMasterId id="2147484393" r:id="rId6"/>
    <p:sldMasterId id="2147484437" r:id="rId7"/>
    <p:sldMasterId id="2147484561" r:id="rId8"/>
    <p:sldMasterId id="2147484568" r:id="rId9"/>
    <p:sldMasterId id="2147484576" r:id="rId10"/>
    <p:sldMasterId id="2147484588" r:id="rId11"/>
    <p:sldMasterId id="2147484598" r:id="rId12"/>
    <p:sldMasterId id="2147484608" r:id="rId13"/>
    <p:sldMasterId id="2147484621" r:id="rId14"/>
    <p:sldMasterId id="2147484636" r:id="rId15"/>
    <p:sldMasterId id="2147484658" r:id="rId16"/>
    <p:sldMasterId id="2147484673" r:id="rId17"/>
    <p:sldMasterId id="2147484688" r:id="rId18"/>
    <p:sldMasterId id="2147484710" r:id="rId19"/>
    <p:sldMasterId id="2147484720" r:id="rId20"/>
    <p:sldMasterId id="2147484808" r:id="rId21"/>
  </p:sldMasterIdLst>
  <p:sldIdLst>
    <p:sldId id="256" r:id="rId22"/>
    <p:sldId id="274" r:id="rId23"/>
    <p:sldId id="257" r:id="rId24"/>
    <p:sldId id="275" r:id="rId25"/>
    <p:sldId id="277" r:id="rId26"/>
    <p:sldId id="276" r:id="rId27"/>
    <p:sldId id="265" r:id="rId28"/>
    <p:sldId id="267" r:id="rId29"/>
    <p:sldId id="268" r:id="rId30"/>
    <p:sldId id="269" r:id="rId31"/>
    <p:sldId id="270" r:id="rId32"/>
    <p:sldId id="266" r:id="rId33"/>
    <p:sldId id="261" r:id="rId34"/>
  </p:sldIdLst>
  <p:sldSz cx="9144000" cy="5143500" type="screen16x9"/>
  <p:notesSz cx="6858000" cy="9144000"/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58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4" autoAdjust="0"/>
    <p:restoredTop sz="83666" autoAdjust="0"/>
  </p:normalViewPr>
  <p:slideViewPr>
    <p:cSldViewPr snapToGrid="0">
      <p:cViewPr varScale="1">
        <p:scale>
          <a:sx n="81" d="100"/>
          <a:sy n="81" d="100"/>
        </p:scale>
        <p:origin x="1110" y="84"/>
      </p:cViewPr>
      <p:guideLst>
        <p:guide orient="horz" pos="75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wmf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3.bin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w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1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1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17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17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9.bin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1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1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1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19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19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1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19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1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0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w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w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83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9181869" y="3"/>
            <a:ext cx="2781533" cy="51434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901AC770-E943-4FB7-BE64-A63C081C98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457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78072"/>
            <a:ext cx="9144000" cy="1665428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23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217" y="898072"/>
            <a:ext cx="8506117" cy="1298132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>
            <a:off x="393539" y="2429278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5577368" y="2429278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76184" y="2351925"/>
            <a:ext cx="5024960" cy="774322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53593" y="2351925"/>
            <a:ext cx="3154741" cy="774322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98" y="366765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58387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59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2910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62740507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03838568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4624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6875999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087686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2461064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466653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Диаграмма 13"/>
          <p:cNvSpPr>
            <a:spLocks noGrp="1"/>
          </p:cNvSpPr>
          <p:nvPr>
            <p:ph type="chart" sz="quarter" idx="25" hasCustomPrompt="1"/>
          </p:nvPr>
        </p:nvSpPr>
        <p:spPr>
          <a:xfrm>
            <a:off x="6872013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4624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46692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8759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63078556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2893060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фото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7"/>
          </p:nvPr>
        </p:nvSpPr>
        <p:spPr>
          <a:xfrm>
            <a:off x="255701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/>
          </p:nvPr>
        </p:nvSpPr>
        <p:spPr>
          <a:xfrm>
            <a:off x="246654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19"/>
          </p:nvPr>
        </p:nvSpPr>
        <p:spPr>
          <a:xfrm>
            <a:off x="46692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20"/>
          </p:nvPr>
        </p:nvSpPr>
        <p:spPr>
          <a:xfrm>
            <a:off x="68761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42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18376805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4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31664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6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48906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0067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9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47" hasCustomPrompt="1"/>
          </p:nvPr>
        </p:nvSpPr>
        <p:spPr>
          <a:xfrm>
            <a:off x="2555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48" hasCustomPrompt="1"/>
          </p:nvPr>
        </p:nvSpPr>
        <p:spPr>
          <a:xfrm>
            <a:off x="24624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Текст 2"/>
          <p:cNvSpPr>
            <a:spLocks noGrp="1"/>
          </p:cNvSpPr>
          <p:nvPr>
            <p:ph type="body" idx="49" hasCustomPrompt="1"/>
          </p:nvPr>
        </p:nvSpPr>
        <p:spPr>
          <a:xfrm>
            <a:off x="46692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7" name="Текст 2"/>
          <p:cNvSpPr>
            <a:spLocks noGrp="1"/>
          </p:cNvSpPr>
          <p:nvPr>
            <p:ph type="body" idx="50" hasCustomPrompt="1"/>
          </p:nvPr>
        </p:nvSpPr>
        <p:spPr>
          <a:xfrm>
            <a:off x="68759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434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колла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87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5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1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4487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4485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8" name="Полилиния 37"/>
          <p:cNvSpPr/>
          <p:nvPr/>
        </p:nvSpPr>
        <p:spPr bwMode="auto">
          <a:xfrm>
            <a:off x="4844394" y="-1929"/>
            <a:ext cx="4305387" cy="5153178"/>
          </a:xfrm>
          <a:custGeom>
            <a:avLst/>
            <a:gdLst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367383 w 4360542"/>
              <a:gd name="connsiteY6" fmla="*/ 5143500 h 5143500"/>
              <a:gd name="connsiteX7" fmla="*/ 0 w 4360542"/>
              <a:gd name="connsiteY7" fmla="*/ 5143500 h 5143500"/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150407 w 4360542"/>
              <a:gd name="connsiteY6" fmla="*/ 5143500 h 5143500"/>
              <a:gd name="connsiteX7" fmla="*/ 0 w 4360542"/>
              <a:gd name="connsiteY7" fmla="*/ 5143500 h 5143500"/>
              <a:gd name="connsiteX8" fmla="*/ 0 w 4360542"/>
              <a:gd name="connsiteY8" fmla="*/ 0 h 5143500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896442 w 4360542"/>
              <a:gd name="connsiteY5" fmla="*/ 3131796 h 5151249"/>
              <a:gd name="connsiteX6" fmla="*/ 150407 w 4360542"/>
              <a:gd name="connsiteY6" fmla="*/ 5151249 h 5151249"/>
              <a:gd name="connsiteX7" fmla="*/ 0 w 4360542"/>
              <a:gd name="connsiteY7" fmla="*/ 5143500 h 5151249"/>
              <a:gd name="connsiteX8" fmla="*/ 0 w 4360542"/>
              <a:gd name="connsiteY8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0766 w 4360542"/>
              <a:gd name="connsiteY2" fmla="*/ 2527146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423327 w 4360542"/>
              <a:gd name="connsiteY1" fmla="*/ 1929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1929 h 5153178"/>
              <a:gd name="connsiteX1" fmla="*/ 427185 w 4360542"/>
              <a:gd name="connsiteY1" fmla="*/ 0 h 5153178"/>
              <a:gd name="connsiteX2" fmla="*/ 2333206 w 4360542"/>
              <a:gd name="connsiteY2" fmla="*/ 2482777 h 5153178"/>
              <a:gd name="connsiteX3" fmla="*/ 4305387 w 4360542"/>
              <a:gd name="connsiteY3" fmla="*/ 150844 h 5153178"/>
              <a:gd name="connsiteX4" fmla="*/ 4360542 w 4360542"/>
              <a:gd name="connsiteY4" fmla="*/ 197124 h 5153178"/>
              <a:gd name="connsiteX5" fmla="*/ 150407 w 4360542"/>
              <a:gd name="connsiteY5" fmla="*/ 5153178 h 5153178"/>
              <a:gd name="connsiteX6" fmla="*/ 0 w 4360542"/>
              <a:gd name="connsiteY6" fmla="*/ 5145429 h 5153178"/>
              <a:gd name="connsiteX7" fmla="*/ 0 w 4360542"/>
              <a:gd name="connsiteY7" fmla="*/ 1929 h 5153178"/>
              <a:gd name="connsiteX0" fmla="*/ 0 w 4305387"/>
              <a:gd name="connsiteY0" fmla="*/ 1929 h 5153178"/>
              <a:gd name="connsiteX1" fmla="*/ 427185 w 4305387"/>
              <a:gd name="connsiteY1" fmla="*/ 0 h 5153178"/>
              <a:gd name="connsiteX2" fmla="*/ 2333206 w 4305387"/>
              <a:gd name="connsiteY2" fmla="*/ 2482777 h 5153178"/>
              <a:gd name="connsiteX3" fmla="*/ 4305387 w 4305387"/>
              <a:gd name="connsiteY3" fmla="*/ 150844 h 5153178"/>
              <a:gd name="connsiteX4" fmla="*/ 4302669 w 4305387"/>
              <a:gd name="connsiteY4" fmla="*/ 272359 h 5153178"/>
              <a:gd name="connsiteX5" fmla="*/ 150407 w 4305387"/>
              <a:gd name="connsiteY5" fmla="*/ 5153178 h 5153178"/>
              <a:gd name="connsiteX6" fmla="*/ 0 w 4305387"/>
              <a:gd name="connsiteY6" fmla="*/ 5145429 h 5153178"/>
              <a:gd name="connsiteX7" fmla="*/ 0 w 4305387"/>
              <a:gd name="connsiteY7" fmla="*/ 1929 h 5153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05387" h="5153178">
                <a:moveTo>
                  <a:pt x="0" y="1929"/>
                </a:moveTo>
                <a:lnTo>
                  <a:pt x="427185" y="0"/>
                </a:lnTo>
                <a:lnTo>
                  <a:pt x="2333206" y="2482777"/>
                </a:lnTo>
                <a:lnTo>
                  <a:pt x="4305387" y="150844"/>
                </a:lnTo>
                <a:lnTo>
                  <a:pt x="4302669" y="272359"/>
                </a:lnTo>
                <a:lnTo>
                  <a:pt x="150407" y="5153178"/>
                </a:lnTo>
                <a:lnTo>
                  <a:pt x="0" y="5145429"/>
                </a:lnTo>
                <a:lnTo>
                  <a:pt x="0" y="1929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5003145" y="170985"/>
            <a:ext cx="4137788" cy="4972515"/>
          </a:xfrm>
          <a:custGeom>
            <a:avLst/>
            <a:gdLst>
              <a:gd name="connsiteX0" fmla="*/ 0 w 4126526"/>
              <a:gd name="connsiteY0" fmla="*/ 0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0 w 4126526"/>
              <a:gd name="connsiteY4" fmla="*/ 0 h 4838700"/>
              <a:gd name="connsiteX0" fmla="*/ 4108938 w 4126526"/>
              <a:gd name="connsiteY0" fmla="*/ 5862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4108938 w 4126526"/>
              <a:gd name="connsiteY4" fmla="*/ 5862 h 4838700"/>
              <a:gd name="connsiteX0" fmla="*/ 4108938 w 4136800"/>
              <a:gd name="connsiteY0" fmla="*/ 40794 h 4873632"/>
              <a:gd name="connsiteX1" fmla="*/ 4136800 w 4136800"/>
              <a:gd name="connsiteY1" fmla="*/ 0 h 4873632"/>
              <a:gd name="connsiteX2" fmla="*/ 4126526 w 4136800"/>
              <a:gd name="connsiteY2" fmla="*/ 4873632 h 4873632"/>
              <a:gd name="connsiteX3" fmla="*/ 0 w 4136800"/>
              <a:gd name="connsiteY3" fmla="*/ 4873632 h 4873632"/>
              <a:gd name="connsiteX4" fmla="*/ 4108938 w 4136800"/>
              <a:gd name="connsiteY4" fmla="*/ 40794 h 4873632"/>
              <a:gd name="connsiteX0" fmla="*/ 4108938 w 4137788"/>
              <a:gd name="connsiteY0" fmla="*/ 40794 h 4873632"/>
              <a:gd name="connsiteX1" fmla="*/ 4136800 w 4137788"/>
              <a:gd name="connsiteY1" fmla="*/ 0 h 4873632"/>
              <a:gd name="connsiteX2" fmla="*/ 4136800 w 4137788"/>
              <a:gd name="connsiteY2" fmla="*/ 4873632 h 4873632"/>
              <a:gd name="connsiteX3" fmla="*/ 0 w 4137788"/>
              <a:gd name="connsiteY3" fmla="*/ 4873632 h 4873632"/>
              <a:gd name="connsiteX4" fmla="*/ 4108938 w 4137788"/>
              <a:gd name="connsiteY4" fmla="*/ 40794 h 4873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7788" h="4873632">
                <a:moveTo>
                  <a:pt x="4108938" y="40794"/>
                </a:moveTo>
                <a:lnTo>
                  <a:pt x="4136800" y="0"/>
                </a:lnTo>
                <a:cubicBezTo>
                  <a:pt x="4133375" y="1624544"/>
                  <a:pt x="4140225" y="3249088"/>
                  <a:pt x="4136800" y="4873632"/>
                </a:cubicBezTo>
                <a:lnTo>
                  <a:pt x="0" y="4873632"/>
                </a:lnTo>
                <a:lnTo>
                  <a:pt x="4108938" y="40794"/>
                </a:lnTo>
                <a:close/>
              </a:path>
            </a:pathLst>
          </a:custGeom>
          <a:noFill/>
          <a:ln w="190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anchor="b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21" hasCustomPrompt="1"/>
          </p:nvPr>
        </p:nvSpPr>
        <p:spPr>
          <a:xfrm>
            <a:off x="5430371" y="0"/>
            <a:ext cx="3735147" cy="2239922"/>
          </a:xfrm>
          <a:prstGeom prst="flowChartMerge">
            <a:avLst/>
          </a:prstGeo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85" y="357166"/>
            <a:ext cx="876123" cy="165600"/>
          </a:xfrm>
          <a:prstGeom prst="rect">
            <a:avLst/>
          </a:prstGeom>
        </p:spPr>
      </p:pic>
      <p:sp>
        <p:nvSpPr>
          <p:cNvPr id="14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6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7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8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9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0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1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2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3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4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25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26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7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8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29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0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1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2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3862231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5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1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00940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763212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5517019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00940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00940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763212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763212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5517019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5517019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727082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200940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763212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5517019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727082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727317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727317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6027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6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3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170927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16295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461663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170927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170927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16295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16295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461663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461663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607031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170927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16295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461663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607031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607031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607031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61" hasCustomPrompt="1"/>
          </p:nvPr>
        </p:nvSpPr>
        <p:spPr>
          <a:xfrm>
            <a:off x="7524000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62" hasCustomPrompt="1"/>
          </p:nvPr>
        </p:nvSpPr>
        <p:spPr>
          <a:xfrm>
            <a:off x="7524000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Content Placeholder 6"/>
          <p:cNvSpPr>
            <a:spLocks noGrp="1"/>
          </p:cNvSpPr>
          <p:nvPr>
            <p:ph sz="quarter" idx="63"/>
          </p:nvPr>
        </p:nvSpPr>
        <p:spPr>
          <a:xfrm>
            <a:off x="7524000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7" name="Content Placeholder 6"/>
          <p:cNvSpPr>
            <a:spLocks noGrp="1"/>
          </p:cNvSpPr>
          <p:nvPr>
            <p:ph sz="quarter" idx="64"/>
          </p:nvPr>
        </p:nvSpPr>
        <p:spPr>
          <a:xfrm>
            <a:off x="7524000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69565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шага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3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1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18542080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шагов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22333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1996236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3744793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493350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7233987" y="828760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004157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554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4933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035360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Арка 6"/>
          <p:cNvSpPr/>
          <p:nvPr/>
        </p:nvSpPr>
        <p:spPr bwMode="auto">
          <a:xfrm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Арка 7"/>
          <p:cNvSpPr/>
          <p:nvPr/>
        </p:nvSpPr>
        <p:spPr bwMode="auto">
          <a:xfrm rot="54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Арка 8"/>
          <p:cNvSpPr/>
          <p:nvPr/>
        </p:nvSpPr>
        <p:spPr bwMode="auto">
          <a:xfrm rot="10800000"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latin typeface="Arial" charset="0"/>
            </a:endParaRPr>
          </a:p>
        </p:txBody>
      </p:sp>
      <p:sp>
        <p:nvSpPr>
          <p:cNvPr id="10" name="Арка 9"/>
          <p:cNvSpPr/>
          <p:nvPr/>
        </p:nvSpPr>
        <p:spPr bwMode="auto">
          <a:xfrm rot="162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Нашивка 14"/>
          <p:cNvSpPr/>
          <p:nvPr/>
        </p:nvSpPr>
        <p:spPr bwMode="auto">
          <a:xfrm>
            <a:off x="4455098" y="1318908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Нашивка 15"/>
          <p:cNvSpPr/>
          <p:nvPr/>
        </p:nvSpPr>
        <p:spPr bwMode="auto">
          <a:xfrm rot="5400000">
            <a:off x="5663864" y="2516304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Нашивка 16"/>
          <p:cNvSpPr/>
          <p:nvPr/>
        </p:nvSpPr>
        <p:spPr bwMode="auto">
          <a:xfrm flipH="1">
            <a:off x="4482394" y="3722311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Нашивка 17"/>
          <p:cNvSpPr/>
          <p:nvPr/>
        </p:nvSpPr>
        <p:spPr bwMode="auto">
          <a:xfrm rot="16200000">
            <a:off x="3253640" y="2530437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255588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255588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19"/>
          <p:cNvSpPr>
            <a:spLocks noGrp="1"/>
          </p:cNvSpPr>
          <p:nvPr>
            <p:ph type="body" sz="quarter" idx="15"/>
          </p:nvPr>
        </p:nvSpPr>
        <p:spPr>
          <a:xfrm>
            <a:off x="6191482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19"/>
          <p:cNvSpPr>
            <a:spLocks noGrp="1"/>
          </p:cNvSpPr>
          <p:nvPr>
            <p:ph type="body" sz="quarter" idx="16"/>
          </p:nvPr>
        </p:nvSpPr>
        <p:spPr>
          <a:xfrm>
            <a:off x="6191482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97B8803-CFBE-46D2-94F3-1E13B37C26DB}"/>
              </a:ext>
            </a:extLst>
          </p:cNvPr>
          <p:cNvSpPr/>
          <p:nvPr/>
        </p:nvSpPr>
        <p:spPr bwMode="auto">
          <a:xfrm>
            <a:off x="2995684" y="1501255"/>
            <a:ext cx="630960" cy="173509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32EE881-8F18-4976-B14A-133BBEF93D70}"/>
              </a:ext>
            </a:extLst>
          </p:cNvPr>
          <p:cNvSpPr/>
          <p:nvPr/>
        </p:nvSpPr>
        <p:spPr bwMode="auto">
          <a:xfrm flipV="1">
            <a:off x="2995684" y="3782109"/>
            <a:ext cx="721056" cy="178463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5FFE1BE-F468-41E4-AC57-73F3A5F795C0}"/>
              </a:ext>
            </a:extLst>
          </p:cNvPr>
          <p:cNvSpPr/>
          <p:nvPr/>
        </p:nvSpPr>
        <p:spPr bwMode="auto">
          <a:xfrm flipH="1">
            <a:off x="5591864" y="1501255"/>
            <a:ext cx="591174" cy="213654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57AF606-9A31-48E6-BA8D-C5D2AD7F0440}"/>
              </a:ext>
            </a:extLst>
          </p:cNvPr>
          <p:cNvSpPr/>
          <p:nvPr/>
        </p:nvSpPr>
        <p:spPr bwMode="auto">
          <a:xfrm flipH="1" flipV="1">
            <a:off x="5500048" y="3782111"/>
            <a:ext cx="682990" cy="178462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07568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grpSp>
        <p:nvGrpSpPr>
          <p:cNvPr id="6" name="Группа 5"/>
          <p:cNvGrpSpPr/>
          <p:nvPr/>
        </p:nvGrpSpPr>
        <p:grpSpPr>
          <a:xfrm rot="1829240">
            <a:off x="3303218" y="1554182"/>
            <a:ext cx="2637368" cy="2569106"/>
            <a:chOff x="62794" y="1435622"/>
            <a:chExt cx="2880788" cy="2806226"/>
          </a:xfrm>
        </p:grpSpPr>
        <p:sp>
          <p:nvSpPr>
            <p:cNvPr id="7" name="Арка 6"/>
            <p:cNvSpPr/>
            <p:nvPr/>
          </p:nvSpPr>
          <p:spPr bwMode="auto">
            <a:xfrm rot="16200000">
              <a:off x="96913" y="1442446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Арка 7"/>
            <p:cNvSpPr/>
            <p:nvPr/>
          </p:nvSpPr>
          <p:spPr bwMode="auto">
            <a:xfrm rot="-1800000">
              <a:off x="97612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Арка 8"/>
            <p:cNvSpPr/>
            <p:nvPr/>
          </p:nvSpPr>
          <p:spPr bwMode="auto">
            <a:xfrm rot="1800000">
              <a:off x="104438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Арка 9"/>
            <p:cNvSpPr/>
            <p:nvPr/>
          </p:nvSpPr>
          <p:spPr bwMode="auto">
            <a:xfrm rot="5400000">
              <a:off x="107411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Арка 10"/>
            <p:cNvSpPr/>
            <p:nvPr/>
          </p:nvSpPr>
          <p:spPr bwMode="auto">
            <a:xfrm rot="9000000">
              <a:off x="104437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Арка 11"/>
            <p:cNvSpPr/>
            <p:nvPr/>
          </p:nvSpPr>
          <p:spPr bwMode="auto">
            <a:xfrm rot="12600000">
              <a:off x="96912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Нашивка 26"/>
            <p:cNvSpPr/>
            <p:nvPr/>
          </p:nvSpPr>
          <p:spPr bwMode="auto">
            <a:xfrm rot="-1800000">
              <a:off x="736085" y="1578379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Нашивка 27"/>
            <p:cNvSpPr/>
            <p:nvPr/>
          </p:nvSpPr>
          <p:spPr bwMode="auto">
            <a:xfrm rot="1800000">
              <a:off x="1984852" y="1573617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Нашивка 28"/>
            <p:cNvSpPr/>
            <p:nvPr/>
          </p:nvSpPr>
          <p:spPr bwMode="auto">
            <a:xfrm rot="5400000">
              <a:off x="2619582" y="2644146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Нашивка 29"/>
            <p:cNvSpPr/>
            <p:nvPr/>
          </p:nvSpPr>
          <p:spPr bwMode="auto">
            <a:xfrm rot="9000000">
              <a:off x="1984852" y="3716435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Нашивка 30"/>
            <p:cNvSpPr/>
            <p:nvPr/>
          </p:nvSpPr>
          <p:spPr bwMode="auto">
            <a:xfrm rot="16200000">
              <a:off x="134794" y="2637322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Нашивка 31"/>
            <p:cNvSpPr/>
            <p:nvPr/>
          </p:nvSpPr>
          <p:spPr bwMode="auto">
            <a:xfrm rot="-9000000">
              <a:off x="763382" y="3707324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cxnSp>
        <p:nvCxnSpPr>
          <p:cNvPr id="20" name="Соединительная линия уступом 19"/>
          <p:cNvCxnSpPr>
            <a:endCxn id="38" idx="3"/>
          </p:cNvCxnSpPr>
          <p:nvPr/>
        </p:nvCxnSpPr>
        <p:spPr bwMode="auto">
          <a:xfrm rot="10800000" flipV="1">
            <a:off x="2558715" y="3655636"/>
            <a:ext cx="1130097" cy="465917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1" name="Соединительная линия уступом 20"/>
          <p:cNvCxnSpPr>
            <a:endCxn id="36" idx="3"/>
          </p:cNvCxnSpPr>
          <p:nvPr/>
        </p:nvCxnSpPr>
        <p:spPr bwMode="auto">
          <a:xfrm rot="10800000">
            <a:off x="2558714" y="1473326"/>
            <a:ext cx="1127608" cy="531002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6" name="Текст 35"/>
          <p:cNvSpPr>
            <a:spLocks noGrp="1"/>
          </p:cNvSpPr>
          <p:nvPr>
            <p:ph type="body" sz="quarter" idx="25"/>
          </p:nvPr>
        </p:nvSpPr>
        <p:spPr>
          <a:xfrm>
            <a:off x="255600" y="878807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7" name="Текст 35"/>
          <p:cNvSpPr>
            <a:spLocks noGrp="1"/>
          </p:cNvSpPr>
          <p:nvPr>
            <p:ph type="body" sz="quarter" idx="26"/>
          </p:nvPr>
        </p:nvSpPr>
        <p:spPr>
          <a:xfrm>
            <a:off x="255600" y="2202921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35"/>
          <p:cNvSpPr>
            <a:spLocks noGrp="1"/>
          </p:cNvSpPr>
          <p:nvPr>
            <p:ph type="body" sz="quarter" idx="27"/>
          </p:nvPr>
        </p:nvSpPr>
        <p:spPr>
          <a:xfrm>
            <a:off x="255600" y="3527035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9" name="Текст 35"/>
          <p:cNvSpPr>
            <a:spLocks noGrp="1"/>
          </p:cNvSpPr>
          <p:nvPr>
            <p:ph type="body" sz="quarter" idx="28"/>
          </p:nvPr>
        </p:nvSpPr>
        <p:spPr>
          <a:xfrm>
            <a:off x="6558240" y="878807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0" name="Текст 35"/>
          <p:cNvSpPr>
            <a:spLocks noGrp="1"/>
          </p:cNvSpPr>
          <p:nvPr>
            <p:ph type="body" sz="quarter" idx="29"/>
          </p:nvPr>
        </p:nvSpPr>
        <p:spPr>
          <a:xfrm>
            <a:off x="6558240" y="2202921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35"/>
          <p:cNvSpPr>
            <a:spLocks noGrp="1"/>
          </p:cNvSpPr>
          <p:nvPr>
            <p:ph type="body" sz="quarter" idx="30"/>
          </p:nvPr>
        </p:nvSpPr>
        <p:spPr>
          <a:xfrm>
            <a:off x="6558240" y="3527035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43" name="Соединительная линия уступом 42"/>
          <p:cNvCxnSpPr>
            <a:endCxn id="41" idx="1"/>
          </p:cNvCxnSpPr>
          <p:nvPr/>
        </p:nvCxnSpPr>
        <p:spPr bwMode="auto">
          <a:xfrm>
            <a:off x="5563760" y="3678753"/>
            <a:ext cx="994480" cy="442801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1" name="Соединительная линия уступом 50"/>
          <p:cNvCxnSpPr>
            <a:stCxn id="39" idx="1"/>
          </p:cNvCxnSpPr>
          <p:nvPr/>
        </p:nvCxnSpPr>
        <p:spPr bwMode="auto">
          <a:xfrm rot="10800000" flipV="1">
            <a:off x="5550968" y="1473326"/>
            <a:ext cx="1007272" cy="5402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>
            <a:cxnSpLocks/>
          </p:cNvCxnSpPr>
          <p:nvPr/>
        </p:nvCxnSpPr>
        <p:spPr bwMode="auto">
          <a:xfrm flipH="1">
            <a:off x="2587465" y="2797440"/>
            <a:ext cx="739105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2" name="Прямая соединительная линия 51"/>
          <p:cNvCxnSpPr>
            <a:cxnSpLocks/>
          </p:cNvCxnSpPr>
          <p:nvPr/>
        </p:nvCxnSpPr>
        <p:spPr bwMode="auto">
          <a:xfrm flipH="1">
            <a:off x="5911135" y="2797440"/>
            <a:ext cx="629001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3908984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53772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93920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325454"/>
              </p:ext>
            </p:ext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8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0" y="1477755"/>
            <a:ext cx="8606460" cy="634350"/>
          </a:xfrm>
          <a:prstGeom prst="rect">
            <a:avLst/>
          </a:prstGeom>
        </p:spPr>
        <p:txBody>
          <a:bodyPr anchor="t"/>
          <a:lstStyle>
            <a:lvl1pPr algn="l">
              <a:defRPr sz="2000" b="0" cap="all"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548002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82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1" y="1729716"/>
            <a:ext cx="8607046" cy="1021556"/>
          </a:xfrm>
          <a:prstGeom prst="rect">
            <a:avLst/>
          </a:prstGeo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32052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uрафи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27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49" y="2291184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5069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06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612282" y="1302635"/>
            <a:ext cx="2951754" cy="217646"/>
          </a:xfrm>
          <a:prstGeom prst="rect">
            <a:avLst/>
          </a:prstGeo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4688299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255588" y="998538"/>
            <a:ext cx="8650287" cy="3595687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таблицы</a:t>
            </a:r>
          </a:p>
        </p:txBody>
      </p:sp>
    </p:spTree>
    <p:extLst>
      <p:ext uri="{BB962C8B-B14F-4D97-AF65-F5344CB8AC3E}">
        <p14:creationId xmlns:p14="http://schemas.microsoft.com/office/powerpoint/2010/main" val="360410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255588" y="842963"/>
            <a:ext cx="4210050" cy="38163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/>
          </p:nvPr>
        </p:nvSpPr>
        <p:spPr>
          <a:xfrm>
            <a:off x="4681950" y="842963"/>
            <a:ext cx="4210050" cy="38163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4357993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8"/>
          <p:cNvSpPr>
            <a:spLocks noGrp="1"/>
          </p:cNvSpPr>
          <p:nvPr>
            <p:ph type="body" sz="quarter" idx="22"/>
          </p:nvPr>
        </p:nvSpPr>
        <p:spPr>
          <a:xfrm>
            <a:off x="4667663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/>
          </p:nvPr>
        </p:nvSpPr>
        <p:spPr>
          <a:xfrm>
            <a:off x="255588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DC95F010-2C41-49B4-994C-8AE1F73A8DE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776C387D-3753-4B75-92C6-5D3702D4152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09401557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диаграммы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8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4667663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992906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фото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7" hasCustomPrompt="1"/>
          </p:nvPr>
        </p:nvSpPr>
        <p:spPr>
          <a:xfrm>
            <a:off x="255588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4667663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17103113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0825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67663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76066888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46692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4377472-2581-4B39-80AE-581E00F855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5588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B92BB08-C89E-41B5-A110-42DDF113B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67663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D5CA91E-9AC8-4158-AA35-A1935E3551E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5588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B00560-4053-45AA-85D0-1C55BA3D54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67663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727200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139627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722427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1" hasCustomPrompt="1"/>
          </p:nvPr>
        </p:nvSpPr>
        <p:spPr>
          <a:xfrm>
            <a:off x="5134854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42678838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2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5ACD6DB4-4E35-4BB8-8994-407B920DEDB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1DB96461-00C9-4618-B085-BC875E29CDA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Рисунок 14">
            <a:extLst>
              <a:ext uri="{FF2B5EF4-FFF2-40B4-BE49-F238E27FC236}">
                <a16:creationId xmlns:a16="http://schemas.microsoft.com/office/drawing/2014/main" id="{4CE4A8B4-2328-4C2C-A1F8-423D7177476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B1AEF316-0FE1-4213-A402-302C31640C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Рисунок 14">
            <a:extLst>
              <a:ext uri="{FF2B5EF4-FFF2-40B4-BE49-F238E27FC236}">
                <a16:creationId xmlns:a16="http://schemas.microsoft.com/office/drawing/2014/main" id="{64CD6F6C-3BD6-4982-9A80-480DEEF6FE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E2D9583-6670-486A-A170-4B7E3AAD45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35648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Рисунок 14">
            <a:extLst>
              <a:ext uri="{FF2B5EF4-FFF2-40B4-BE49-F238E27FC236}">
                <a16:creationId xmlns:a16="http://schemas.microsoft.com/office/drawing/2014/main" id="{B2679DE3-113C-45B0-9FBB-84C80D90A2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DC34E2AE-DCD6-46D1-A1D1-59D43290768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5648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Рисунок 14">
            <a:extLst>
              <a:ext uri="{FF2B5EF4-FFF2-40B4-BE49-F238E27FC236}">
                <a16:creationId xmlns:a16="http://schemas.microsoft.com/office/drawing/2014/main" id="{95B65BCB-FAFB-4949-9DA5-6DD965EF5DD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DF6D2344-1F01-4E57-B29B-777B243901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35648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5" name="Рисунок 14">
            <a:extLst>
              <a:ext uri="{FF2B5EF4-FFF2-40B4-BE49-F238E27FC236}">
                <a16:creationId xmlns:a16="http://schemas.microsoft.com/office/drawing/2014/main" id="{B338637A-8816-44B7-BB19-C9702D023F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970B49F-E8D0-42E9-906A-E1BE3761811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5648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7" name="Рисунок 14">
            <a:extLst>
              <a:ext uri="{FF2B5EF4-FFF2-40B4-BE49-F238E27FC236}">
                <a16:creationId xmlns:a16="http://schemas.microsoft.com/office/drawing/2014/main" id="{DEB00967-6AE4-4995-9A85-2356A9A4899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A098F644-4A32-41C9-AB95-DC7B1A2CBBA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35648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9" name="Рисунок 14">
            <a:extLst>
              <a:ext uri="{FF2B5EF4-FFF2-40B4-BE49-F238E27FC236}">
                <a16:creationId xmlns:a16="http://schemas.microsoft.com/office/drawing/2014/main" id="{52790202-17E3-482C-BBC7-0FDC08AA8D9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821878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0596A83C-CB24-431E-B6CA-8EAEEF87F2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01926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1" name="Рисунок 14">
            <a:extLst>
              <a:ext uri="{FF2B5EF4-FFF2-40B4-BE49-F238E27FC236}">
                <a16:creationId xmlns:a16="http://schemas.microsoft.com/office/drawing/2014/main" id="{98CCCF76-0F0D-4468-B476-98F7E5F193DB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821878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A14B70F-4E5F-4E68-A232-DB29D948250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01926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3" name="Рисунок 14">
            <a:extLst>
              <a:ext uri="{FF2B5EF4-FFF2-40B4-BE49-F238E27FC236}">
                <a16:creationId xmlns:a16="http://schemas.microsoft.com/office/drawing/2014/main" id="{B12EAE96-E1E7-4AEA-BE1F-929DC6D7DACD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821878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9563D9A-CED2-4ECA-8A37-BF67DAC51F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301926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5" name="Рисунок 14">
            <a:extLst>
              <a:ext uri="{FF2B5EF4-FFF2-40B4-BE49-F238E27FC236}">
                <a16:creationId xmlns:a16="http://schemas.microsoft.com/office/drawing/2014/main" id="{F9F1D5B1-7350-461F-BEC4-A02D9209AA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821878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FB3655B-D02C-4974-B8BB-52053EF46F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301926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7" name="Рисунок 14">
            <a:extLst>
              <a:ext uri="{FF2B5EF4-FFF2-40B4-BE49-F238E27FC236}">
                <a16:creationId xmlns:a16="http://schemas.microsoft.com/office/drawing/2014/main" id="{DE3ECA66-605C-4EA2-80FD-5D3DD5A9751C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821878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EDA554DC-64B4-4829-893F-1BE738AADB2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301926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9" name="Рисунок 14">
            <a:extLst>
              <a:ext uri="{FF2B5EF4-FFF2-40B4-BE49-F238E27FC236}">
                <a16:creationId xmlns:a16="http://schemas.microsoft.com/office/drawing/2014/main" id="{FC35F83D-02DD-4749-A458-B5EBA5DEC17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821878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B76B11AD-817F-47DD-B055-F17D2333517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301926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1" name="Рисунок 14">
            <a:extLst>
              <a:ext uri="{FF2B5EF4-FFF2-40B4-BE49-F238E27FC236}">
                <a16:creationId xmlns:a16="http://schemas.microsoft.com/office/drawing/2014/main" id="{D6937FE5-2DC9-467B-B2CB-1E208EC0346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821878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30E2FE77-DADE-42E6-BD8F-386BE6C5C2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301926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8551818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5601" y="1324799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58377" y="1324800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7011534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бирюзовый фон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7631"/>
            <a:ext cx="3691499" cy="3983742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207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9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2031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14382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7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03240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0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85298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4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2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5489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4624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6875999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318807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2461064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466653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Диаграмма 13"/>
          <p:cNvSpPr>
            <a:spLocks noGrp="1"/>
          </p:cNvSpPr>
          <p:nvPr>
            <p:ph type="chart" sz="quarter" idx="25" hasCustomPrompt="1"/>
          </p:nvPr>
        </p:nvSpPr>
        <p:spPr>
          <a:xfrm>
            <a:off x="6872013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4624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46692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8759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38468793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73138008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фото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7"/>
          </p:nvPr>
        </p:nvSpPr>
        <p:spPr>
          <a:xfrm>
            <a:off x="255701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/>
          </p:nvPr>
        </p:nvSpPr>
        <p:spPr>
          <a:xfrm>
            <a:off x="246654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19"/>
          </p:nvPr>
        </p:nvSpPr>
        <p:spPr>
          <a:xfrm>
            <a:off x="46692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20"/>
          </p:nvPr>
        </p:nvSpPr>
        <p:spPr>
          <a:xfrm>
            <a:off x="68761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42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12649662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9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00496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1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21719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6519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4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47" hasCustomPrompt="1"/>
          </p:nvPr>
        </p:nvSpPr>
        <p:spPr>
          <a:xfrm>
            <a:off x="2555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48" hasCustomPrompt="1"/>
          </p:nvPr>
        </p:nvSpPr>
        <p:spPr>
          <a:xfrm>
            <a:off x="24624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Текст 2"/>
          <p:cNvSpPr>
            <a:spLocks noGrp="1"/>
          </p:cNvSpPr>
          <p:nvPr>
            <p:ph type="body" idx="49" hasCustomPrompt="1"/>
          </p:nvPr>
        </p:nvSpPr>
        <p:spPr>
          <a:xfrm>
            <a:off x="46692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7" name="Текст 2"/>
          <p:cNvSpPr>
            <a:spLocks noGrp="1"/>
          </p:cNvSpPr>
          <p:nvPr>
            <p:ph type="body" idx="50" hasCustomPrompt="1"/>
          </p:nvPr>
        </p:nvSpPr>
        <p:spPr>
          <a:xfrm>
            <a:off x="68759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3697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5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6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00940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763212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5517019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00940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00940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763212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763212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5517019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5517019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727082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200940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763212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5517019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727082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727317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727317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0457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6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29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170927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16295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461663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170927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170927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16295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16295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461663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461663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607031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170927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16295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461663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607031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607031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607031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61" hasCustomPrompt="1"/>
          </p:nvPr>
        </p:nvSpPr>
        <p:spPr>
          <a:xfrm>
            <a:off x="7524000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62" hasCustomPrompt="1"/>
          </p:nvPr>
        </p:nvSpPr>
        <p:spPr>
          <a:xfrm>
            <a:off x="7524000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Content Placeholder 6"/>
          <p:cNvSpPr>
            <a:spLocks noGrp="1"/>
          </p:cNvSpPr>
          <p:nvPr>
            <p:ph sz="quarter" idx="63"/>
          </p:nvPr>
        </p:nvSpPr>
        <p:spPr>
          <a:xfrm>
            <a:off x="7524000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7" name="Content Placeholder 6"/>
          <p:cNvSpPr>
            <a:spLocks noGrp="1"/>
          </p:cNvSpPr>
          <p:nvPr>
            <p:ph sz="quarter" idx="64"/>
          </p:nvPr>
        </p:nvSpPr>
        <p:spPr>
          <a:xfrm>
            <a:off x="7524000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2822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891111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3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81365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890488"/>
              </p:ext>
            </p:ext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1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0" y="1477755"/>
            <a:ext cx="8606460" cy="634350"/>
          </a:xfrm>
          <a:prstGeom prst="rect">
            <a:avLst/>
          </a:prstGeom>
        </p:spPr>
        <p:txBody>
          <a:bodyPr anchor="t"/>
          <a:lstStyle>
            <a:lvl1pPr algn="l">
              <a:defRPr sz="2000" b="0" cap="all"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943885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34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1" y="1729716"/>
            <a:ext cx="8607046" cy="1021556"/>
          </a:xfrm>
          <a:prstGeom prst="rect">
            <a:avLst/>
          </a:prstGeo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25224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58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612282" y="1302635"/>
            <a:ext cx="2951754" cy="217646"/>
          </a:xfrm>
          <a:prstGeom prst="rect">
            <a:avLst/>
          </a:prstGeo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2202871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255588" y="998538"/>
            <a:ext cx="8650287" cy="3595687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таблицы</a:t>
            </a:r>
          </a:p>
        </p:txBody>
      </p:sp>
    </p:spTree>
    <p:extLst>
      <p:ext uri="{BB962C8B-B14F-4D97-AF65-F5344CB8AC3E}">
        <p14:creationId xmlns:p14="http://schemas.microsoft.com/office/powerpoint/2010/main" val="329399799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5388767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5672855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255588" y="842963"/>
            <a:ext cx="4210050" cy="38163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/>
          </p:nvPr>
        </p:nvSpPr>
        <p:spPr>
          <a:xfrm>
            <a:off x="4681950" y="842963"/>
            <a:ext cx="4210050" cy="38163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1790097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8"/>
          <p:cNvSpPr>
            <a:spLocks noGrp="1"/>
          </p:cNvSpPr>
          <p:nvPr>
            <p:ph type="body" sz="quarter" idx="22"/>
          </p:nvPr>
        </p:nvSpPr>
        <p:spPr>
          <a:xfrm>
            <a:off x="4667663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/>
          </p:nvPr>
        </p:nvSpPr>
        <p:spPr>
          <a:xfrm>
            <a:off x="255588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DC95F010-2C41-49B4-994C-8AE1F73A8DE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776C387D-3753-4B75-92C6-5D3702D4152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94968716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диаграммы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8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4667663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632283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фото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7" hasCustomPrompt="1"/>
          </p:nvPr>
        </p:nvSpPr>
        <p:spPr>
          <a:xfrm>
            <a:off x="255588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4667663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59780230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0825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67663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417612092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46692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4377472-2581-4B39-80AE-581E00F855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5588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B92BB08-C89E-41B5-A110-42DDF113B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67663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D5CA91E-9AC8-4158-AA35-A1935E3551E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5588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B00560-4053-45AA-85D0-1C55BA3D54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67663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727200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139627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722427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1" hasCustomPrompt="1"/>
          </p:nvPr>
        </p:nvSpPr>
        <p:spPr>
          <a:xfrm>
            <a:off x="5134854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32438450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2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5ACD6DB4-4E35-4BB8-8994-407B920DEDB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1DB96461-00C9-4618-B085-BC875E29CDA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Рисунок 14">
            <a:extLst>
              <a:ext uri="{FF2B5EF4-FFF2-40B4-BE49-F238E27FC236}">
                <a16:creationId xmlns:a16="http://schemas.microsoft.com/office/drawing/2014/main" id="{4CE4A8B4-2328-4C2C-A1F8-423D7177476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B1AEF316-0FE1-4213-A402-302C31640C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Рисунок 14">
            <a:extLst>
              <a:ext uri="{FF2B5EF4-FFF2-40B4-BE49-F238E27FC236}">
                <a16:creationId xmlns:a16="http://schemas.microsoft.com/office/drawing/2014/main" id="{64CD6F6C-3BD6-4982-9A80-480DEEF6FE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E2D9583-6670-486A-A170-4B7E3AAD45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35648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Рисунок 14">
            <a:extLst>
              <a:ext uri="{FF2B5EF4-FFF2-40B4-BE49-F238E27FC236}">
                <a16:creationId xmlns:a16="http://schemas.microsoft.com/office/drawing/2014/main" id="{B2679DE3-113C-45B0-9FBB-84C80D90A2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DC34E2AE-DCD6-46D1-A1D1-59D43290768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5648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Рисунок 14">
            <a:extLst>
              <a:ext uri="{FF2B5EF4-FFF2-40B4-BE49-F238E27FC236}">
                <a16:creationId xmlns:a16="http://schemas.microsoft.com/office/drawing/2014/main" id="{95B65BCB-FAFB-4949-9DA5-6DD965EF5DD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DF6D2344-1F01-4E57-B29B-777B243901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35648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5" name="Рисунок 14">
            <a:extLst>
              <a:ext uri="{FF2B5EF4-FFF2-40B4-BE49-F238E27FC236}">
                <a16:creationId xmlns:a16="http://schemas.microsoft.com/office/drawing/2014/main" id="{B338637A-8816-44B7-BB19-C9702D023F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970B49F-E8D0-42E9-906A-E1BE3761811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5648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7" name="Рисунок 14">
            <a:extLst>
              <a:ext uri="{FF2B5EF4-FFF2-40B4-BE49-F238E27FC236}">
                <a16:creationId xmlns:a16="http://schemas.microsoft.com/office/drawing/2014/main" id="{DEB00967-6AE4-4995-9A85-2356A9A4899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A098F644-4A32-41C9-AB95-DC7B1A2CBBA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35648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9" name="Рисунок 14">
            <a:extLst>
              <a:ext uri="{FF2B5EF4-FFF2-40B4-BE49-F238E27FC236}">
                <a16:creationId xmlns:a16="http://schemas.microsoft.com/office/drawing/2014/main" id="{52790202-17E3-482C-BBC7-0FDC08AA8D9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821878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0596A83C-CB24-431E-B6CA-8EAEEF87F2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01926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1" name="Рисунок 14">
            <a:extLst>
              <a:ext uri="{FF2B5EF4-FFF2-40B4-BE49-F238E27FC236}">
                <a16:creationId xmlns:a16="http://schemas.microsoft.com/office/drawing/2014/main" id="{98CCCF76-0F0D-4468-B476-98F7E5F193DB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821878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A14B70F-4E5F-4E68-A232-DB29D948250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01926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3" name="Рисунок 14">
            <a:extLst>
              <a:ext uri="{FF2B5EF4-FFF2-40B4-BE49-F238E27FC236}">
                <a16:creationId xmlns:a16="http://schemas.microsoft.com/office/drawing/2014/main" id="{B12EAE96-E1E7-4AEA-BE1F-929DC6D7DACD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821878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9563D9A-CED2-4ECA-8A37-BF67DAC51F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301926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5" name="Рисунок 14">
            <a:extLst>
              <a:ext uri="{FF2B5EF4-FFF2-40B4-BE49-F238E27FC236}">
                <a16:creationId xmlns:a16="http://schemas.microsoft.com/office/drawing/2014/main" id="{F9F1D5B1-7350-461F-BEC4-A02D9209AA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821878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FB3655B-D02C-4974-B8BB-52053EF46F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301926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7" name="Рисунок 14">
            <a:extLst>
              <a:ext uri="{FF2B5EF4-FFF2-40B4-BE49-F238E27FC236}">
                <a16:creationId xmlns:a16="http://schemas.microsoft.com/office/drawing/2014/main" id="{DE3ECA66-605C-4EA2-80FD-5D3DD5A9751C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821878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EDA554DC-64B4-4829-893F-1BE738AADB2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301926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9" name="Рисунок 14">
            <a:extLst>
              <a:ext uri="{FF2B5EF4-FFF2-40B4-BE49-F238E27FC236}">
                <a16:creationId xmlns:a16="http://schemas.microsoft.com/office/drawing/2014/main" id="{FC35F83D-02DD-4749-A458-B5EBA5DEC17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821878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B76B11AD-817F-47DD-B055-F17D2333517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301926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1" name="Рисунок 14">
            <a:extLst>
              <a:ext uri="{FF2B5EF4-FFF2-40B4-BE49-F238E27FC236}">
                <a16:creationId xmlns:a16="http://schemas.microsoft.com/office/drawing/2014/main" id="{D6937FE5-2DC9-467B-B2CB-1E208EC0346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821878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30E2FE77-DADE-42E6-BD8F-386BE6C5C2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301926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7484238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5601" y="1324799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58377" y="1324800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5982933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53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79297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5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7164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9859878"/>
              </p:ext>
            </p:ext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51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0" y="1477755"/>
            <a:ext cx="8606460" cy="634350"/>
          </a:xfrm>
          <a:prstGeom prst="rect">
            <a:avLst/>
          </a:prstGeom>
        </p:spPr>
        <p:txBody>
          <a:bodyPr anchor="t"/>
          <a:lstStyle>
            <a:lvl1pPr algn="l">
              <a:defRPr sz="2000" b="0" cap="all"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995693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199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2197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09438458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23568321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4624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6875999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748490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2461064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466653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Диаграмма 13"/>
          <p:cNvSpPr>
            <a:spLocks noGrp="1"/>
          </p:cNvSpPr>
          <p:nvPr>
            <p:ph type="chart" sz="quarter" idx="25" hasCustomPrompt="1"/>
          </p:nvPr>
        </p:nvSpPr>
        <p:spPr>
          <a:xfrm>
            <a:off x="6872013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4624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46692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8759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60001370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5423869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фото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7"/>
          </p:nvPr>
        </p:nvSpPr>
        <p:spPr>
          <a:xfrm>
            <a:off x="255701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/>
          </p:nvPr>
        </p:nvSpPr>
        <p:spPr>
          <a:xfrm>
            <a:off x="246654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19"/>
          </p:nvPr>
        </p:nvSpPr>
        <p:spPr>
          <a:xfrm>
            <a:off x="46692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20"/>
          </p:nvPr>
        </p:nvSpPr>
        <p:spPr>
          <a:xfrm>
            <a:off x="68761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42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12209783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4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03416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7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42618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32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79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47" hasCustomPrompt="1"/>
          </p:nvPr>
        </p:nvSpPr>
        <p:spPr>
          <a:xfrm>
            <a:off x="2555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48" hasCustomPrompt="1"/>
          </p:nvPr>
        </p:nvSpPr>
        <p:spPr>
          <a:xfrm>
            <a:off x="24624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Текст 2"/>
          <p:cNvSpPr>
            <a:spLocks noGrp="1"/>
          </p:cNvSpPr>
          <p:nvPr>
            <p:ph type="body" idx="49" hasCustomPrompt="1"/>
          </p:nvPr>
        </p:nvSpPr>
        <p:spPr>
          <a:xfrm>
            <a:off x="46692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7" name="Текст 2"/>
          <p:cNvSpPr>
            <a:spLocks noGrp="1"/>
          </p:cNvSpPr>
          <p:nvPr>
            <p:ph type="body" idx="50" hasCustomPrompt="1"/>
          </p:nvPr>
        </p:nvSpPr>
        <p:spPr>
          <a:xfrm>
            <a:off x="68759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594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75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1" y="1729716"/>
            <a:ext cx="8607046" cy="1021556"/>
          </a:xfrm>
          <a:prstGeom prst="rect">
            <a:avLst/>
          </a:prstGeo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70638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5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00940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763212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5517019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00940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00940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763212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763212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5517019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5517019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727082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200940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763212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5517019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727082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727317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727317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93626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6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4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170927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16295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461663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170927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170927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16295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16295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461663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461663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607031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170927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16295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461663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607031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607031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607031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61" hasCustomPrompt="1"/>
          </p:nvPr>
        </p:nvSpPr>
        <p:spPr>
          <a:xfrm>
            <a:off x="7524000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62" hasCustomPrompt="1"/>
          </p:nvPr>
        </p:nvSpPr>
        <p:spPr>
          <a:xfrm>
            <a:off x="7524000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Content Placeholder 6"/>
          <p:cNvSpPr>
            <a:spLocks noGrp="1"/>
          </p:cNvSpPr>
          <p:nvPr>
            <p:ph sz="quarter" idx="63"/>
          </p:nvPr>
        </p:nvSpPr>
        <p:spPr>
          <a:xfrm>
            <a:off x="7524000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7" name="Content Placeholder 6"/>
          <p:cNvSpPr>
            <a:spLocks noGrp="1"/>
          </p:cNvSpPr>
          <p:nvPr>
            <p:ph sz="quarter" idx="64"/>
          </p:nvPr>
        </p:nvSpPr>
        <p:spPr>
          <a:xfrm>
            <a:off x="7524000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31375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74778734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403953096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шага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3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1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187122634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шагов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22333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1996236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3744793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493350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7233987" y="828760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004157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554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4933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63005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Арка 6"/>
          <p:cNvSpPr/>
          <p:nvPr/>
        </p:nvSpPr>
        <p:spPr bwMode="auto">
          <a:xfrm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Арка 7"/>
          <p:cNvSpPr/>
          <p:nvPr/>
        </p:nvSpPr>
        <p:spPr bwMode="auto">
          <a:xfrm rot="54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Арка 8"/>
          <p:cNvSpPr/>
          <p:nvPr/>
        </p:nvSpPr>
        <p:spPr bwMode="auto">
          <a:xfrm rot="10800000"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latin typeface="Arial" charset="0"/>
            </a:endParaRPr>
          </a:p>
        </p:txBody>
      </p:sp>
      <p:sp>
        <p:nvSpPr>
          <p:cNvPr id="10" name="Арка 9"/>
          <p:cNvSpPr/>
          <p:nvPr/>
        </p:nvSpPr>
        <p:spPr bwMode="auto">
          <a:xfrm rot="162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Нашивка 14"/>
          <p:cNvSpPr/>
          <p:nvPr/>
        </p:nvSpPr>
        <p:spPr bwMode="auto">
          <a:xfrm>
            <a:off x="4455098" y="1318908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Нашивка 15"/>
          <p:cNvSpPr/>
          <p:nvPr/>
        </p:nvSpPr>
        <p:spPr bwMode="auto">
          <a:xfrm rot="5400000">
            <a:off x="5663864" y="2516304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Нашивка 16"/>
          <p:cNvSpPr/>
          <p:nvPr/>
        </p:nvSpPr>
        <p:spPr bwMode="auto">
          <a:xfrm flipH="1">
            <a:off x="4482394" y="3722311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Нашивка 17"/>
          <p:cNvSpPr/>
          <p:nvPr/>
        </p:nvSpPr>
        <p:spPr bwMode="auto">
          <a:xfrm rot="16200000">
            <a:off x="3253640" y="2530437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255588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255588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19"/>
          <p:cNvSpPr>
            <a:spLocks noGrp="1"/>
          </p:cNvSpPr>
          <p:nvPr>
            <p:ph type="body" sz="quarter" idx="15"/>
          </p:nvPr>
        </p:nvSpPr>
        <p:spPr>
          <a:xfrm>
            <a:off x="6191482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19"/>
          <p:cNvSpPr>
            <a:spLocks noGrp="1"/>
          </p:cNvSpPr>
          <p:nvPr>
            <p:ph type="body" sz="quarter" idx="16"/>
          </p:nvPr>
        </p:nvSpPr>
        <p:spPr>
          <a:xfrm>
            <a:off x="6191482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97B8803-CFBE-46D2-94F3-1E13B37C26DB}"/>
              </a:ext>
            </a:extLst>
          </p:cNvPr>
          <p:cNvSpPr/>
          <p:nvPr/>
        </p:nvSpPr>
        <p:spPr bwMode="auto">
          <a:xfrm>
            <a:off x="2995684" y="1501255"/>
            <a:ext cx="630960" cy="173509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32EE881-8F18-4976-B14A-133BBEF93D70}"/>
              </a:ext>
            </a:extLst>
          </p:cNvPr>
          <p:cNvSpPr/>
          <p:nvPr/>
        </p:nvSpPr>
        <p:spPr bwMode="auto">
          <a:xfrm flipV="1">
            <a:off x="2995684" y="3782109"/>
            <a:ext cx="721056" cy="178463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5FFE1BE-F468-41E4-AC57-73F3A5F795C0}"/>
              </a:ext>
            </a:extLst>
          </p:cNvPr>
          <p:cNvSpPr/>
          <p:nvPr/>
        </p:nvSpPr>
        <p:spPr bwMode="auto">
          <a:xfrm flipH="1">
            <a:off x="5591864" y="1501255"/>
            <a:ext cx="591174" cy="213654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57AF606-9A31-48E6-BA8D-C5D2AD7F0440}"/>
              </a:ext>
            </a:extLst>
          </p:cNvPr>
          <p:cNvSpPr/>
          <p:nvPr/>
        </p:nvSpPr>
        <p:spPr bwMode="auto">
          <a:xfrm flipH="1" flipV="1">
            <a:off x="5500048" y="3782111"/>
            <a:ext cx="682990" cy="178462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3788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grpSp>
        <p:nvGrpSpPr>
          <p:cNvPr id="6" name="Группа 5"/>
          <p:cNvGrpSpPr/>
          <p:nvPr/>
        </p:nvGrpSpPr>
        <p:grpSpPr>
          <a:xfrm rot="1829240">
            <a:off x="3303218" y="1554182"/>
            <a:ext cx="2637368" cy="2569106"/>
            <a:chOff x="62794" y="1435622"/>
            <a:chExt cx="2880788" cy="2806226"/>
          </a:xfrm>
        </p:grpSpPr>
        <p:sp>
          <p:nvSpPr>
            <p:cNvPr id="7" name="Арка 6"/>
            <p:cNvSpPr/>
            <p:nvPr/>
          </p:nvSpPr>
          <p:spPr bwMode="auto">
            <a:xfrm rot="16200000">
              <a:off x="96913" y="1442446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Арка 7"/>
            <p:cNvSpPr/>
            <p:nvPr/>
          </p:nvSpPr>
          <p:spPr bwMode="auto">
            <a:xfrm rot="-1800000">
              <a:off x="97612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Арка 8"/>
            <p:cNvSpPr/>
            <p:nvPr/>
          </p:nvSpPr>
          <p:spPr bwMode="auto">
            <a:xfrm rot="1800000">
              <a:off x="104438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Арка 9"/>
            <p:cNvSpPr/>
            <p:nvPr/>
          </p:nvSpPr>
          <p:spPr bwMode="auto">
            <a:xfrm rot="5400000">
              <a:off x="107411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Арка 10"/>
            <p:cNvSpPr/>
            <p:nvPr/>
          </p:nvSpPr>
          <p:spPr bwMode="auto">
            <a:xfrm rot="9000000">
              <a:off x="104437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Арка 11"/>
            <p:cNvSpPr/>
            <p:nvPr/>
          </p:nvSpPr>
          <p:spPr bwMode="auto">
            <a:xfrm rot="12600000">
              <a:off x="96912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Нашивка 26"/>
            <p:cNvSpPr/>
            <p:nvPr/>
          </p:nvSpPr>
          <p:spPr bwMode="auto">
            <a:xfrm rot="-1800000">
              <a:off x="736085" y="1578379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Нашивка 27"/>
            <p:cNvSpPr/>
            <p:nvPr/>
          </p:nvSpPr>
          <p:spPr bwMode="auto">
            <a:xfrm rot="1800000">
              <a:off x="1984852" y="1573617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Нашивка 28"/>
            <p:cNvSpPr/>
            <p:nvPr/>
          </p:nvSpPr>
          <p:spPr bwMode="auto">
            <a:xfrm rot="5400000">
              <a:off x="2619582" y="2644146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Нашивка 29"/>
            <p:cNvSpPr/>
            <p:nvPr/>
          </p:nvSpPr>
          <p:spPr bwMode="auto">
            <a:xfrm rot="9000000">
              <a:off x="1984852" y="3716435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Нашивка 30"/>
            <p:cNvSpPr/>
            <p:nvPr/>
          </p:nvSpPr>
          <p:spPr bwMode="auto">
            <a:xfrm rot="16200000">
              <a:off x="134794" y="2637322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Нашивка 31"/>
            <p:cNvSpPr/>
            <p:nvPr/>
          </p:nvSpPr>
          <p:spPr bwMode="auto">
            <a:xfrm rot="-9000000">
              <a:off x="763382" y="3707324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cxnSp>
        <p:nvCxnSpPr>
          <p:cNvPr id="20" name="Соединительная линия уступом 19"/>
          <p:cNvCxnSpPr>
            <a:endCxn id="38" idx="3"/>
          </p:cNvCxnSpPr>
          <p:nvPr/>
        </p:nvCxnSpPr>
        <p:spPr bwMode="auto">
          <a:xfrm rot="10800000" flipV="1">
            <a:off x="2558715" y="3655636"/>
            <a:ext cx="1130097" cy="465917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1" name="Соединительная линия уступом 20"/>
          <p:cNvCxnSpPr>
            <a:endCxn id="36" idx="3"/>
          </p:cNvCxnSpPr>
          <p:nvPr/>
        </p:nvCxnSpPr>
        <p:spPr bwMode="auto">
          <a:xfrm rot="10800000">
            <a:off x="2558714" y="1473326"/>
            <a:ext cx="1127608" cy="531002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6" name="Текст 35"/>
          <p:cNvSpPr>
            <a:spLocks noGrp="1"/>
          </p:cNvSpPr>
          <p:nvPr>
            <p:ph type="body" sz="quarter" idx="25"/>
          </p:nvPr>
        </p:nvSpPr>
        <p:spPr>
          <a:xfrm>
            <a:off x="255600" y="878807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7" name="Текст 35"/>
          <p:cNvSpPr>
            <a:spLocks noGrp="1"/>
          </p:cNvSpPr>
          <p:nvPr>
            <p:ph type="body" sz="quarter" idx="26"/>
          </p:nvPr>
        </p:nvSpPr>
        <p:spPr>
          <a:xfrm>
            <a:off x="255600" y="2202921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35"/>
          <p:cNvSpPr>
            <a:spLocks noGrp="1"/>
          </p:cNvSpPr>
          <p:nvPr>
            <p:ph type="body" sz="quarter" idx="27"/>
          </p:nvPr>
        </p:nvSpPr>
        <p:spPr>
          <a:xfrm>
            <a:off x="255600" y="3527035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9" name="Текст 35"/>
          <p:cNvSpPr>
            <a:spLocks noGrp="1"/>
          </p:cNvSpPr>
          <p:nvPr>
            <p:ph type="body" sz="quarter" idx="28"/>
          </p:nvPr>
        </p:nvSpPr>
        <p:spPr>
          <a:xfrm>
            <a:off x="6558240" y="878807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0" name="Текст 35"/>
          <p:cNvSpPr>
            <a:spLocks noGrp="1"/>
          </p:cNvSpPr>
          <p:nvPr>
            <p:ph type="body" sz="quarter" idx="29"/>
          </p:nvPr>
        </p:nvSpPr>
        <p:spPr>
          <a:xfrm>
            <a:off x="6558240" y="2202921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35"/>
          <p:cNvSpPr>
            <a:spLocks noGrp="1"/>
          </p:cNvSpPr>
          <p:nvPr>
            <p:ph type="body" sz="quarter" idx="30"/>
          </p:nvPr>
        </p:nvSpPr>
        <p:spPr>
          <a:xfrm>
            <a:off x="6558240" y="3527035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43" name="Соединительная линия уступом 42"/>
          <p:cNvCxnSpPr>
            <a:endCxn id="41" idx="1"/>
          </p:cNvCxnSpPr>
          <p:nvPr/>
        </p:nvCxnSpPr>
        <p:spPr bwMode="auto">
          <a:xfrm>
            <a:off x="5563760" y="3678753"/>
            <a:ext cx="994480" cy="442801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1" name="Соединительная линия уступом 50"/>
          <p:cNvCxnSpPr>
            <a:stCxn id="39" idx="1"/>
          </p:cNvCxnSpPr>
          <p:nvPr/>
        </p:nvCxnSpPr>
        <p:spPr bwMode="auto">
          <a:xfrm rot="10800000" flipV="1">
            <a:off x="5550968" y="1473326"/>
            <a:ext cx="1007272" cy="5402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>
            <a:cxnSpLocks/>
          </p:cNvCxnSpPr>
          <p:nvPr/>
        </p:nvCxnSpPr>
        <p:spPr bwMode="auto">
          <a:xfrm flipH="1">
            <a:off x="2587465" y="2797440"/>
            <a:ext cx="739105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2" name="Прямая соединительная линия 51"/>
          <p:cNvCxnSpPr>
            <a:cxnSpLocks/>
          </p:cNvCxnSpPr>
          <p:nvPr/>
        </p:nvCxnSpPr>
        <p:spPr bwMode="auto">
          <a:xfrm flipH="1">
            <a:off x="5911135" y="2797440"/>
            <a:ext cx="629001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73633990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51767450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0291841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399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612282" y="1302635"/>
            <a:ext cx="2951754" cy="217646"/>
          </a:xfrm>
          <a:prstGeom prst="rect">
            <a:avLst/>
          </a:prstGeo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5276352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7" name="Group 1556"/>
          <p:cNvGrpSpPr/>
          <p:nvPr/>
        </p:nvGrpSpPr>
        <p:grpSpPr>
          <a:xfrm>
            <a:off x="0" y="315192"/>
            <a:ext cx="9141714" cy="2846623"/>
            <a:chOff x="0" y="420256"/>
            <a:chExt cx="12188952" cy="3795497"/>
          </a:xfrm>
        </p:grpSpPr>
        <p:cxnSp>
          <p:nvCxnSpPr>
            <p:cNvPr id="1558" name="Straight Connector 1557"/>
            <p:cNvCxnSpPr/>
            <p:nvPr/>
          </p:nvCxnSpPr>
          <p:spPr>
            <a:xfrm>
              <a:off x="0" y="4215753"/>
              <a:ext cx="12188952" cy="0"/>
            </a:xfrm>
            <a:prstGeom prst="line">
              <a:avLst/>
            </a:prstGeom>
            <a:ln w="1397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9" name="Straight Connector 1558"/>
            <p:cNvCxnSpPr/>
            <p:nvPr/>
          </p:nvCxnSpPr>
          <p:spPr>
            <a:xfrm>
              <a:off x="0" y="3794032"/>
              <a:ext cx="12188952" cy="0"/>
            </a:xfrm>
            <a:prstGeom prst="line">
              <a:avLst/>
            </a:prstGeom>
            <a:ln w="1397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0" name="Straight Connector 1559"/>
            <p:cNvCxnSpPr/>
            <p:nvPr/>
          </p:nvCxnSpPr>
          <p:spPr>
            <a:xfrm>
              <a:off x="0" y="3372310"/>
              <a:ext cx="12188952" cy="0"/>
            </a:xfrm>
            <a:prstGeom prst="line">
              <a:avLst/>
            </a:prstGeom>
            <a:ln w="1397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1" name="Straight Connector 1560"/>
            <p:cNvCxnSpPr/>
            <p:nvPr/>
          </p:nvCxnSpPr>
          <p:spPr>
            <a:xfrm>
              <a:off x="0" y="2950588"/>
              <a:ext cx="12188952" cy="0"/>
            </a:xfrm>
            <a:prstGeom prst="line">
              <a:avLst/>
            </a:prstGeom>
            <a:ln w="1397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2" name="Straight Connector 1561"/>
            <p:cNvCxnSpPr/>
            <p:nvPr/>
          </p:nvCxnSpPr>
          <p:spPr>
            <a:xfrm>
              <a:off x="0" y="2528866"/>
              <a:ext cx="12188952" cy="0"/>
            </a:xfrm>
            <a:prstGeom prst="line">
              <a:avLst/>
            </a:prstGeom>
            <a:ln w="1397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3" name="Straight Connector 1562"/>
            <p:cNvCxnSpPr/>
            <p:nvPr/>
          </p:nvCxnSpPr>
          <p:spPr>
            <a:xfrm>
              <a:off x="0" y="2107144"/>
              <a:ext cx="12188952" cy="0"/>
            </a:xfrm>
            <a:prstGeom prst="line">
              <a:avLst/>
            </a:prstGeom>
            <a:ln w="1397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4" name="Straight Connector 1563"/>
            <p:cNvCxnSpPr/>
            <p:nvPr/>
          </p:nvCxnSpPr>
          <p:spPr>
            <a:xfrm>
              <a:off x="0" y="1685422"/>
              <a:ext cx="12188952" cy="0"/>
            </a:xfrm>
            <a:prstGeom prst="line">
              <a:avLst/>
            </a:prstGeom>
            <a:ln w="1397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5" name="Straight Connector 1564"/>
            <p:cNvCxnSpPr/>
            <p:nvPr/>
          </p:nvCxnSpPr>
          <p:spPr>
            <a:xfrm>
              <a:off x="0" y="1263700"/>
              <a:ext cx="12188952" cy="0"/>
            </a:xfrm>
            <a:prstGeom prst="line">
              <a:avLst/>
            </a:prstGeom>
            <a:ln w="1397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6" name="Straight Connector 1565"/>
            <p:cNvCxnSpPr/>
            <p:nvPr/>
          </p:nvCxnSpPr>
          <p:spPr>
            <a:xfrm>
              <a:off x="0" y="841978"/>
              <a:ext cx="12188952" cy="0"/>
            </a:xfrm>
            <a:prstGeom prst="line">
              <a:avLst/>
            </a:prstGeom>
            <a:ln w="1397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7" name="Straight Connector 1566"/>
            <p:cNvCxnSpPr/>
            <p:nvPr/>
          </p:nvCxnSpPr>
          <p:spPr>
            <a:xfrm>
              <a:off x="0" y="420256"/>
              <a:ext cx="12188952" cy="0"/>
            </a:xfrm>
            <a:prstGeom prst="line">
              <a:avLst/>
            </a:prstGeom>
            <a:ln w="1397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68" name="Rectangle 379"/>
          <p:cNvSpPr/>
          <p:nvPr/>
        </p:nvSpPr>
        <p:spPr>
          <a:xfrm rot="18900000" flipV="1">
            <a:off x="7084365" y="-724094"/>
            <a:ext cx="10288" cy="4869915"/>
          </a:xfrm>
          <a:custGeom>
            <a:avLst/>
            <a:gdLst/>
            <a:ahLst/>
            <a:cxnLst/>
            <a:rect l="l" t="t" r="r" b="b"/>
            <a:pathLst>
              <a:path w="13717" h="6493220">
                <a:moveTo>
                  <a:pt x="1" y="6493220"/>
                </a:moveTo>
                <a:lnTo>
                  <a:pt x="13717" y="6479504"/>
                </a:lnTo>
                <a:lnTo>
                  <a:pt x="13716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69" name="Rectangle 56"/>
          <p:cNvSpPr/>
          <p:nvPr/>
        </p:nvSpPr>
        <p:spPr>
          <a:xfrm>
            <a:off x="0" y="0"/>
            <a:ext cx="8862405" cy="3429003"/>
          </a:xfrm>
          <a:custGeom>
            <a:avLst/>
            <a:gdLst/>
            <a:ahLst/>
            <a:cxnLst/>
            <a:rect l="l" t="t" r="r" b="b"/>
            <a:pathLst>
              <a:path w="11816540" h="4572004">
                <a:moveTo>
                  <a:pt x="11802824" y="4"/>
                </a:moveTo>
                <a:lnTo>
                  <a:pt x="11816540" y="4"/>
                </a:lnTo>
                <a:lnTo>
                  <a:pt x="11816540" y="4572004"/>
                </a:lnTo>
                <a:lnTo>
                  <a:pt x="11802824" y="4572004"/>
                </a:lnTo>
                <a:close/>
                <a:moveTo>
                  <a:pt x="5901406" y="4"/>
                </a:moveTo>
                <a:lnTo>
                  <a:pt x="5915122" y="4"/>
                </a:lnTo>
                <a:lnTo>
                  <a:pt x="5915122" y="4572004"/>
                </a:lnTo>
                <a:lnTo>
                  <a:pt x="5901406" y="4572004"/>
                </a:lnTo>
                <a:close/>
                <a:moveTo>
                  <a:pt x="10959754" y="3"/>
                </a:moveTo>
                <a:lnTo>
                  <a:pt x="10973470" y="3"/>
                </a:lnTo>
                <a:lnTo>
                  <a:pt x="10973470" y="4572003"/>
                </a:lnTo>
                <a:lnTo>
                  <a:pt x="10959754" y="4572003"/>
                </a:lnTo>
                <a:close/>
                <a:moveTo>
                  <a:pt x="5058348" y="3"/>
                </a:moveTo>
                <a:lnTo>
                  <a:pt x="5072064" y="3"/>
                </a:lnTo>
                <a:lnTo>
                  <a:pt x="5072064" y="4572003"/>
                </a:lnTo>
                <a:lnTo>
                  <a:pt x="5058348" y="4572003"/>
                </a:lnTo>
                <a:close/>
                <a:moveTo>
                  <a:pt x="11381283" y="2"/>
                </a:moveTo>
                <a:lnTo>
                  <a:pt x="11394999" y="2"/>
                </a:lnTo>
                <a:lnTo>
                  <a:pt x="11394999" y="4572002"/>
                </a:lnTo>
                <a:lnTo>
                  <a:pt x="11381283" y="4572002"/>
                </a:lnTo>
                <a:close/>
                <a:moveTo>
                  <a:pt x="10538225" y="2"/>
                </a:moveTo>
                <a:lnTo>
                  <a:pt x="10551941" y="2"/>
                </a:lnTo>
                <a:lnTo>
                  <a:pt x="10551941" y="4572002"/>
                </a:lnTo>
                <a:lnTo>
                  <a:pt x="10538225" y="4572002"/>
                </a:lnTo>
                <a:close/>
                <a:moveTo>
                  <a:pt x="10116696" y="2"/>
                </a:moveTo>
                <a:lnTo>
                  <a:pt x="10130412" y="2"/>
                </a:lnTo>
                <a:lnTo>
                  <a:pt x="10130412" y="4572002"/>
                </a:lnTo>
                <a:lnTo>
                  <a:pt x="10116696" y="4572002"/>
                </a:lnTo>
                <a:close/>
                <a:moveTo>
                  <a:pt x="6322935" y="2"/>
                </a:moveTo>
                <a:lnTo>
                  <a:pt x="6336651" y="2"/>
                </a:lnTo>
                <a:lnTo>
                  <a:pt x="6336651" y="4572002"/>
                </a:lnTo>
                <a:lnTo>
                  <a:pt x="6322935" y="4572002"/>
                </a:lnTo>
                <a:close/>
                <a:moveTo>
                  <a:pt x="5479877" y="2"/>
                </a:moveTo>
                <a:lnTo>
                  <a:pt x="5493593" y="2"/>
                </a:lnTo>
                <a:lnTo>
                  <a:pt x="5493593" y="4572002"/>
                </a:lnTo>
                <a:lnTo>
                  <a:pt x="5479877" y="4572002"/>
                </a:lnTo>
                <a:close/>
                <a:moveTo>
                  <a:pt x="4636819" y="2"/>
                </a:moveTo>
                <a:lnTo>
                  <a:pt x="4650535" y="2"/>
                </a:lnTo>
                <a:lnTo>
                  <a:pt x="4650535" y="4572002"/>
                </a:lnTo>
                <a:lnTo>
                  <a:pt x="4636819" y="4572002"/>
                </a:lnTo>
                <a:close/>
                <a:moveTo>
                  <a:pt x="4215290" y="2"/>
                </a:moveTo>
                <a:lnTo>
                  <a:pt x="4229006" y="2"/>
                </a:lnTo>
                <a:lnTo>
                  <a:pt x="4229006" y="4572002"/>
                </a:lnTo>
                <a:lnTo>
                  <a:pt x="4215290" y="4572002"/>
                </a:lnTo>
                <a:close/>
                <a:moveTo>
                  <a:pt x="421529" y="2"/>
                </a:moveTo>
                <a:lnTo>
                  <a:pt x="435245" y="2"/>
                </a:lnTo>
                <a:lnTo>
                  <a:pt x="435245" y="4572002"/>
                </a:lnTo>
                <a:lnTo>
                  <a:pt x="421529" y="4572002"/>
                </a:lnTo>
                <a:close/>
                <a:moveTo>
                  <a:pt x="0" y="2"/>
                </a:moveTo>
                <a:lnTo>
                  <a:pt x="13716" y="2"/>
                </a:lnTo>
                <a:lnTo>
                  <a:pt x="13716" y="4572002"/>
                </a:lnTo>
                <a:lnTo>
                  <a:pt x="0" y="4572002"/>
                </a:lnTo>
                <a:close/>
                <a:moveTo>
                  <a:pt x="9273638" y="1"/>
                </a:moveTo>
                <a:lnTo>
                  <a:pt x="9287354" y="1"/>
                </a:lnTo>
                <a:lnTo>
                  <a:pt x="9287354" y="4572001"/>
                </a:lnTo>
                <a:lnTo>
                  <a:pt x="9273638" y="4572001"/>
                </a:lnTo>
                <a:close/>
                <a:moveTo>
                  <a:pt x="3372232" y="1"/>
                </a:moveTo>
                <a:lnTo>
                  <a:pt x="3385948" y="1"/>
                </a:lnTo>
                <a:lnTo>
                  <a:pt x="3385948" y="4572001"/>
                </a:lnTo>
                <a:lnTo>
                  <a:pt x="3372232" y="4572001"/>
                </a:lnTo>
                <a:close/>
                <a:moveTo>
                  <a:pt x="9695167" y="0"/>
                </a:moveTo>
                <a:lnTo>
                  <a:pt x="9708883" y="0"/>
                </a:lnTo>
                <a:lnTo>
                  <a:pt x="9708883" y="4572000"/>
                </a:lnTo>
                <a:lnTo>
                  <a:pt x="9695167" y="4572000"/>
                </a:lnTo>
                <a:close/>
                <a:moveTo>
                  <a:pt x="8852109" y="0"/>
                </a:moveTo>
                <a:lnTo>
                  <a:pt x="8865825" y="0"/>
                </a:lnTo>
                <a:lnTo>
                  <a:pt x="8865825" y="4572000"/>
                </a:lnTo>
                <a:lnTo>
                  <a:pt x="8852109" y="4572000"/>
                </a:lnTo>
                <a:close/>
                <a:moveTo>
                  <a:pt x="8430580" y="0"/>
                </a:moveTo>
                <a:lnTo>
                  <a:pt x="8444296" y="0"/>
                </a:lnTo>
                <a:lnTo>
                  <a:pt x="8444296" y="4572000"/>
                </a:lnTo>
                <a:lnTo>
                  <a:pt x="8430580" y="4572000"/>
                </a:lnTo>
                <a:close/>
                <a:moveTo>
                  <a:pt x="8009051" y="0"/>
                </a:moveTo>
                <a:lnTo>
                  <a:pt x="8022767" y="0"/>
                </a:lnTo>
                <a:lnTo>
                  <a:pt x="8022767" y="4572000"/>
                </a:lnTo>
                <a:lnTo>
                  <a:pt x="8009051" y="4572000"/>
                </a:lnTo>
                <a:close/>
                <a:moveTo>
                  <a:pt x="7587522" y="0"/>
                </a:moveTo>
                <a:lnTo>
                  <a:pt x="7601238" y="0"/>
                </a:lnTo>
                <a:lnTo>
                  <a:pt x="7601238" y="4572000"/>
                </a:lnTo>
                <a:lnTo>
                  <a:pt x="7587522" y="4572000"/>
                </a:lnTo>
                <a:close/>
                <a:moveTo>
                  <a:pt x="7165993" y="0"/>
                </a:moveTo>
                <a:lnTo>
                  <a:pt x="7179709" y="0"/>
                </a:lnTo>
                <a:lnTo>
                  <a:pt x="7179709" y="4572000"/>
                </a:lnTo>
                <a:lnTo>
                  <a:pt x="7165993" y="4572000"/>
                </a:lnTo>
                <a:close/>
                <a:moveTo>
                  <a:pt x="6744464" y="0"/>
                </a:moveTo>
                <a:lnTo>
                  <a:pt x="6758180" y="0"/>
                </a:lnTo>
                <a:lnTo>
                  <a:pt x="6758180" y="4572000"/>
                </a:lnTo>
                <a:lnTo>
                  <a:pt x="6744464" y="4572000"/>
                </a:lnTo>
                <a:close/>
                <a:moveTo>
                  <a:pt x="3793761" y="0"/>
                </a:moveTo>
                <a:lnTo>
                  <a:pt x="3807477" y="0"/>
                </a:lnTo>
                <a:lnTo>
                  <a:pt x="3807477" y="4572000"/>
                </a:lnTo>
                <a:lnTo>
                  <a:pt x="3793761" y="4572000"/>
                </a:lnTo>
                <a:close/>
                <a:moveTo>
                  <a:pt x="2950703" y="0"/>
                </a:moveTo>
                <a:lnTo>
                  <a:pt x="2964419" y="0"/>
                </a:lnTo>
                <a:lnTo>
                  <a:pt x="2964419" y="4572000"/>
                </a:lnTo>
                <a:lnTo>
                  <a:pt x="2950703" y="4572000"/>
                </a:lnTo>
                <a:close/>
                <a:moveTo>
                  <a:pt x="2529174" y="0"/>
                </a:moveTo>
                <a:lnTo>
                  <a:pt x="2542890" y="0"/>
                </a:lnTo>
                <a:lnTo>
                  <a:pt x="2542890" y="4572000"/>
                </a:lnTo>
                <a:lnTo>
                  <a:pt x="2529174" y="4572000"/>
                </a:lnTo>
                <a:close/>
                <a:moveTo>
                  <a:pt x="2107645" y="0"/>
                </a:moveTo>
                <a:lnTo>
                  <a:pt x="2121361" y="0"/>
                </a:lnTo>
                <a:lnTo>
                  <a:pt x="2121361" y="4572000"/>
                </a:lnTo>
                <a:lnTo>
                  <a:pt x="2107645" y="4572000"/>
                </a:lnTo>
                <a:close/>
                <a:moveTo>
                  <a:pt x="1686116" y="0"/>
                </a:moveTo>
                <a:lnTo>
                  <a:pt x="1699832" y="0"/>
                </a:lnTo>
                <a:lnTo>
                  <a:pt x="1699832" y="4572000"/>
                </a:lnTo>
                <a:lnTo>
                  <a:pt x="1686116" y="4572000"/>
                </a:lnTo>
                <a:close/>
                <a:moveTo>
                  <a:pt x="1264587" y="0"/>
                </a:moveTo>
                <a:lnTo>
                  <a:pt x="1278303" y="0"/>
                </a:lnTo>
                <a:lnTo>
                  <a:pt x="1278303" y="4572000"/>
                </a:lnTo>
                <a:lnTo>
                  <a:pt x="1264587" y="4572000"/>
                </a:lnTo>
                <a:close/>
                <a:moveTo>
                  <a:pt x="843058" y="0"/>
                </a:moveTo>
                <a:lnTo>
                  <a:pt x="856774" y="0"/>
                </a:lnTo>
                <a:lnTo>
                  <a:pt x="856774" y="4572000"/>
                </a:lnTo>
                <a:lnTo>
                  <a:pt x="843058" y="457200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0" name="Rectangle 87"/>
          <p:cNvSpPr/>
          <p:nvPr/>
        </p:nvSpPr>
        <p:spPr>
          <a:xfrm rot="2700000">
            <a:off x="1733432" y="-725286"/>
            <a:ext cx="10287" cy="4927721"/>
          </a:xfrm>
          <a:custGeom>
            <a:avLst/>
            <a:gdLst/>
            <a:ahLst/>
            <a:cxnLst/>
            <a:rect l="l" t="t" r="r" b="b"/>
            <a:pathLst>
              <a:path w="13716" h="6570294">
                <a:moveTo>
                  <a:pt x="0" y="6556578"/>
                </a:moveTo>
                <a:lnTo>
                  <a:pt x="13716" y="6570294"/>
                </a:lnTo>
                <a:lnTo>
                  <a:pt x="13716" y="6570294"/>
                </a:lnTo>
                <a:lnTo>
                  <a:pt x="0" y="6556578"/>
                </a:lnTo>
                <a:close/>
                <a:moveTo>
                  <a:pt x="0" y="13716"/>
                </a:moveTo>
                <a:lnTo>
                  <a:pt x="13716" y="0"/>
                </a:lnTo>
                <a:lnTo>
                  <a:pt x="13716" y="6465786"/>
                </a:lnTo>
                <a:lnTo>
                  <a:pt x="0" y="647950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1" name="Rectangle 88"/>
          <p:cNvSpPr/>
          <p:nvPr/>
        </p:nvSpPr>
        <p:spPr>
          <a:xfrm rot="2700000">
            <a:off x="2389895" y="-715313"/>
            <a:ext cx="10287" cy="4859627"/>
          </a:xfrm>
          <a:custGeom>
            <a:avLst/>
            <a:gdLst/>
            <a:ahLst/>
            <a:cxnLst/>
            <a:rect l="l" t="t" r="r" b="b"/>
            <a:pathLst>
              <a:path w="13716" h="6479503">
                <a:moveTo>
                  <a:pt x="0" y="13716"/>
                </a:moveTo>
                <a:lnTo>
                  <a:pt x="13716" y="0"/>
                </a:lnTo>
                <a:lnTo>
                  <a:pt x="13716" y="6465786"/>
                </a:lnTo>
                <a:lnTo>
                  <a:pt x="0" y="647950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2" name="Rectangle 89"/>
          <p:cNvSpPr/>
          <p:nvPr/>
        </p:nvSpPr>
        <p:spPr>
          <a:xfrm rot="2700000">
            <a:off x="3022285" y="-715312"/>
            <a:ext cx="10287" cy="4859627"/>
          </a:xfrm>
          <a:custGeom>
            <a:avLst/>
            <a:gdLst/>
            <a:ahLst/>
            <a:cxnLst/>
            <a:rect l="l" t="t" r="r" b="b"/>
            <a:pathLst>
              <a:path w="13716" h="6479503">
                <a:moveTo>
                  <a:pt x="0" y="13716"/>
                </a:moveTo>
                <a:lnTo>
                  <a:pt x="13716" y="0"/>
                </a:lnTo>
                <a:lnTo>
                  <a:pt x="13716" y="6465787"/>
                </a:lnTo>
                <a:lnTo>
                  <a:pt x="0" y="647950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3" name="Rectangle 90"/>
          <p:cNvSpPr/>
          <p:nvPr/>
        </p:nvSpPr>
        <p:spPr>
          <a:xfrm rot="2700000">
            <a:off x="3654674" y="-715312"/>
            <a:ext cx="10287" cy="4859627"/>
          </a:xfrm>
          <a:custGeom>
            <a:avLst/>
            <a:gdLst/>
            <a:ahLst/>
            <a:cxnLst/>
            <a:rect l="l" t="t" r="r" b="b"/>
            <a:pathLst>
              <a:path w="13716" h="6479503">
                <a:moveTo>
                  <a:pt x="0" y="13716"/>
                </a:moveTo>
                <a:lnTo>
                  <a:pt x="13716" y="0"/>
                </a:lnTo>
                <a:lnTo>
                  <a:pt x="13716" y="6465786"/>
                </a:lnTo>
                <a:lnTo>
                  <a:pt x="0" y="647950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4" name="Rectangle 91"/>
          <p:cNvSpPr/>
          <p:nvPr/>
        </p:nvSpPr>
        <p:spPr>
          <a:xfrm rot="2700000">
            <a:off x="4287065" y="-715312"/>
            <a:ext cx="10287" cy="4859626"/>
          </a:xfrm>
          <a:custGeom>
            <a:avLst/>
            <a:gdLst/>
            <a:ahLst/>
            <a:cxnLst/>
            <a:rect l="l" t="t" r="r" b="b"/>
            <a:pathLst>
              <a:path w="13716" h="6479501">
                <a:moveTo>
                  <a:pt x="0" y="13716"/>
                </a:moveTo>
                <a:lnTo>
                  <a:pt x="13716" y="0"/>
                </a:lnTo>
                <a:lnTo>
                  <a:pt x="13716" y="6465785"/>
                </a:lnTo>
                <a:lnTo>
                  <a:pt x="0" y="6479501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5" name="Rectangle 92"/>
          <p:cNvSpPr/>
          <p:nvPr/>
        </p:nvSpPr>
        <p:spPr>
          <a:xfrm rot="2700000">
            <a:off x="4919454" y="-715313"/>
            <a:ext cx="10287" cy="4859627"/>
          </a:xfrm>
          <a:custGeom>
            <a:avLst/>
            <a:gdLst/>
            <a:ahLst/>
            <a:cxnLst/>
            <a:rect l="l" t="t" r="r" b="b"/>
            <a:pathLst>
              <a:path w="13716" h="6479502">
                <a:moveTo>
                  <a:pt x="0" y="13716"/>
                </a:moveTo>
                <a:lnTo>
                  <a:pt x="13716" y="0"/>
                </a:lnTo>
                <a:lnTo>
                  <a:pt x="13715" y="6465787"/>
                </a:lnTo>
                <a:lnTo>
                  <a:pt x="0" y="647950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6" name="Rectangle 93"/>
          <p:cNvSpPr/>
          <p:nvPr/>
        </p:nvSpPr>
        <p:spPr>
          <a:xfrm rot="2700000">
            <a:off x="5551843" y="-708039"/>
            <a:ext cx="10288" cy="4859627"/>
          </a:xfrm>
          <a:custGeom>
            <a:avLst/>
            <a:gdLst/>
            <a:ahLst/>
            <a:cxnLst/>
            <a:rect l="l" t="t" r="r" b="b"/>
            <a:pathLst>
              <a:path w="13717" h="6479502">
                <a:moveTo>
                  <a:pt x="0" y="13716"/>
                </a:moveTo>
                <a:lnTo>
                  <a:pt x="13717" y="0"/>
                </a:lnTo>
                <a:lnTo>
                  <a:pt x="13716" y="6465787"/>
                </a:lnTo>
                <a:lnTo>
                  <a:pt x="1" y="647950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7" name="Rectangle 94"/>
          <p:cNvSpPr/>
          <p:nvPr/>
        </p:nvSpPr>
        <p:spPr>
          <a:xfrm rot="2700000">
            <a:off x="6184233" y="-715313"/>
            <a:ext cx="10287" cy="4859627"/>
          </a:xfrm>
          <a:custGeom>
            <a:avLst/>
            <a:gdLst/>
            <a:ahLst/>
            <a:cxnLst/>
            <a:rect l="l" t="t" r="r" b="b"/>
            <a:pathLst>
              <a:path w="13716" h="6479502">
                <a:moveTo>
                  <a:pt x="0" y="13716"/>
                </a:moveTo>
                <a:lnTo>
                  <a:pt x="13716" y="0"/>
                </a:lnTo>
                <a:lnTo>
                  <a:pt x="13715" y="6465787"/>
                </a:lnTo>
                <a:lnTo>
                  <a:pt x="0" y="647950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8" name="Rectangle 95"/>
          <p:cNvSpPr/>
          <p:nvPr/>
        </p:nvSpPr>
        <p:spPr>
          <a:xfrm rot="2700000">
            <a:off x="6816624" y="-715312"/>
            <a:ext cx="10288" cy="4859627"/>
          </a:xfrm>
          <a:custGeom>
            <a:avLst/>
            <a:gdLst/>
            <a:ahLst/>
            <a:cxnLst/>
            <a:rect l="l" t="t" r="r" b="b"/>
            <a:pathLst>
              <a:path w="13717" h="6479503">
                <a:moveTo>
                  <a:pt x="13717" y="0"/>
                </a:moveTo>
                <a:lnTo>
                  <a:pt x="13716" y="6465787"/>
                </a:lnTo>
                <a:lnTo>
                  <a:pt x="0" y="6479503"/>
                </a:lnTo>
                <a:lnTo>
                  <a:pt x="1" y="13717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9" name="Rectangle 96"/>
          <p:cNvSpPr/>
          <p:nvPr/>
        </p:nvSpPr>
        <p:spPr>
          <a:xfrm rot="2700000">
            <a:off x="7434672" y="-680697"/>
            <a:ext cx="10287" cy="4819072"/>
          </a:xfrm>
          <a:custGeom>
            <a:avLst/>
            <a:gdLst/>
            <a:ahLst/>
            <a:cxnLst/>
            <a:rect l="l" t="t" r="r" b="b"/>
            <a:pathLst>
              <a:path w="13716" h="6425429">
                <a:moveTo>
                  <a:pt x="0" y="0"/>
                </a:moveTo>
                <a:lnTo>
                  <a:pt x="13716" y="13717"/>
                </a:lnTo>
                <a:lnTo>
                  <a:pt x="13716" y="6411713"/>
                </a:lnTo>
                <a:lnTo>
                  <a:pt x="0" y="6425429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0" name="Rectangle 97"/>
          <p:cNvSpPr/>
          <p:nvPr/>
        </p:nvSpPr>
        <p:spPr>
          <a:xfrm rot="2700000">
            <a:off x="7750869" y="82666"/>
            <a:ext cx="10288" cy="3924736"/>
          </a:xfrm>
          <a:custGeom>
            <a:avLst/>
            <a:gdLst/>
            <a:ahLst/>
            <a:cxnLst/>
            <a:rect l="l" t="t" r="r" b="b"/>
            <a:pathLst>
              <a:path w="13717" h="5232981">
                <a:moveTo>
                  <a:pt x="0" y="0"/>
                </a:moveTo>
                <a:lnTo>
                  <a:pt x="13717" y="13716"/>
                </a:lnTo>
                <a:lnTo>
                  <a:pt x="13717" y="5219264"/>
                </a:lnTo>
                <a:lnTo>
                  <a:pt x="1" y="5232981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1" name="Rectangle 98"/>
          <p:cNvSpPr/>
          <p:nvPr/>
        </p:nvSpPr>
        <p:spPr>
          <a:xfrm rot="2700000">
            <a:off x="8067063" y="846028"/>
            <a:ext cx="10287" cy="3030403"/>
          </a:xfrm>
          <a:custGeom>
            <a:avLst/>
            <a:gdLst/>
            <a:ahLst/>
            <a:cxnLst/>
            <a:rect l="l" t="t" r="r" b="b"/>
            <a:pathLst>
              <a:path w="13716" h="4040537">
                <a:moveTo>
                  <a:pt x="0" y="0"/>
                </a:moveTo>
                <a:lnTo>
                  <a:pt x="13716" y="13716"/>
                </a:lnTo>
                <a:lnTo>
                  <a:pt x="13715" y="4026822"/>
                </a:lnTo>
                <a:lnTo>
                  <a:pt x="1" y="4040537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2" name="Rectangle 99"/>
          <p:cNvSpPr/>
          <p:nvPr/>
        </p:nvSpPr>
        <p:spPr>
          <a:xfrm rot="2700000">
            <a:off x="8383259" y="1609390"/>
            <a:ext cx="10287" cy="2136068"/>
          </a:xfrm>
          <a:custGeom>
            <a:avLst/>
            <a:gdLst/>
            <a:ahLst/>
            <a:cxnLst/>
            <a:rect l="l" t="t" r="r" b="b"/>
            <a:pathLst>
              <a:path w="13716" h="2848091">
                <a:moveTo>
                  <a:pt x="0" y="0"/>
                </a:moveTo>
                <a:lnTo>
                  <a:pt x="13716" y="13716"/>
                </a:lnTo>
                <a:lnTo>
                  <a:pt x="13715" y="2834375"/>
                </a:lnTo>
                <a:lnTo>
                  <a:pt x="0" y="2848091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3" name="Rectangle 100"/>
          <p:cNvSpPr/>
          <p:nvPr/>
        </p:nvSpPr>
        <p:spPr>
          <a:xfrm rot="2700000">
            <a:off x="8699455" y="2372752"/>
            <a:ext cx="10286" cy="1241733"/>
          </a:xfrm>
          <a:custGeom>
            <a:avLst/>
            <a:gdLst/>
            <a:ahLst/>
            <a:cxnLst/>
            <a:rect l="l" t="t" r="r" b="b"/>
            <a:pathLst>
              <a:path w="13715" h="1655644">
                <a:moveTo>
                  <a:pt x="0" y="0"/>
                </a:moveTo>
                <a:lnTo>
                  <a:pt x="13715" y="13716"/>
                </a:lnTo>
                <a:lnTo>
                  <a:pt x="13715" y="1641929"/>
                </a:lnTo>
                <a:lnTo>
                  <a:pt x="0" y="1655644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4" name="Rectangle 101"/>
          <p:cNvSpPr/>
          <p:nvPr/>
        </p:nvSpPr>
        <p:spPr>
          <a:xfrm rot="2700000">
            <a:off x="9015652" y="3136120"/>
            <a:ext cx="10286" cy="347392"/>
          </a:xfrm>
          <a:custGeom>
            <a:avLst/>
            <a:gdLst/>
            <a:ahLst/>
            <a:cxnLst/>
            <a:rect l="l" t="t" r="r" b="b"/>
            <a:pathLst>
              <a:path w="13715" h="463189">
                <a:moveTo>
                  <a:pt x="1" y="0"/>
                </a:moveTo>
                <a:lnTo>
                  <a:pt x="13715" y="13716"/>
                </a:lnTo>
                <a:lnTo>
                  <a:pt x="13715" y="449474"/>
                </a:lnTo>
                <a:lnTo>
                  <a:pt x="0" y="463189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5" name="Rectangle 102"/>
          <p:cNvSpPr/>
          <p:nvPr/>
        </p:nvSpPr>
        <p:spPr>
          <a:xfrm rot="2700000">
            <a:off x="152458" y="-70424"/>
            <a:ext cx="10287" cy="456051"/>
          </a:xfrm>
          <a:custGeom>
            <a:avLst/>
            <a:gdLst/>
            <a:ahLst/>
            <a:cxnLst/>
            <a:rect l="l" t="t" r="r" b="b"/>
            <a:pathLst>
              <a:path w="13716" h="608068">
                <a:moveTo>
                  <a:pt x="0" y="13716"/>
                </a:moveTo>
                <a:lnTo>
                  <a:pt x="13716" y="0"/>
                </a:lnTo>
                <a:lnTo>
                  <a:pt x="13716" y="608068"/>
                </a:lnTo>
                <a:lnTo>
                  <a:pt x="0" y="59435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6" name="Rectangle 103"/>
          <p:cNvSpPr/>
          <p:nvPr/>
        </p:nvSpPr>
        <p:spPr>
          <a:xfrm rot="2700000">
            <a:off x="468653" y="-201397"/>
            <a:ext cx="10287" cy="1350386"/>
          </a:xfrm>
          <a:custGeom>
            <a:avLst/>
            <a:gdLst/>
            <a:ahLst/>
            <a:cxnLst/>
            <a:rect l="l" t="t" r="r" b="b"/>
            <a:pathLst>
              <a:path w="13716" h="1800514">
                <a:moveTo>
                  <a:pt x="0" y="13716"/>
                </a:moveTo>
                <a:lnTo>
                  <a:pt x="13716" y="0"/>
                </a:lnTo>
                <a:lnTo>
                  <a:pt x="13716" y="1800514"/>
                </a:lnTo>
                <a:lnTo>
                  <a:pt x="0" y="1786798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7" name="Rectangle 104"/>
          <p:cNvSpPr/>
          <p:nvPr/>
        </p:nvSpPr>
        <p:spPr>
          <a:xfrm rot="2700000">
            <a:off x="784847" y="-332369"/>
            <a:ext cx="10287" cy="2244719"/>
          </a:xfrm>
          <a:custGeom>
            <a:avLst/>
            <a:gdLst/>
            <a:ahLst/>
            <a:cxnLst/>
            <a:rect l="l" t="t" r="r" b="b"/>
            <a:pathLst>
              <a:path w="13716" h="2992958">
                <a:moveTo>
                  <a:pt x="0" y="13716"/>
                </a:moveTo>
                <a:lnTo>
                  <a:pt x="13716" y="0"/>
                </a:lnTo>
                <a:lnTo>
                  <a:pt x="13716" y="2992958"/>
                </a:lnTo>
                <a:lnTo>
                  <a:pt x="0" y="297924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8" name="Rectangle 105"/>
          <p:cNvSpPr/>
          <p:nvPr/>
        </p:nvSpPr>
        <p:spPr>
          <a:xfrm rot="2700000">
            <a:off x="1101042" y="-463341"/>
            <a:ext cx="10287" cy="3139053"/>
          </a:xfrm>
          <a:custGeom>
            <a:avLst/>
            <a:gdLst/>
            <a:ahLst/>
            <a:cxnLst/>
            <a:rect l="l" t="t" r="r" b="b"/>
            <a:pathLst>
              <a:path w="13716" h="4185404">
                <a:moveTo>
                  <a:pt x="0" y="13716"/>
                </a:moveTo>
                <a:lnTo>
                  <a:pt x="13716" y="0"/>
                </a:lnTo>
                <a:lnTo>
                  <a:pt x="13716" y="4185404"/>
                </a:lnTo>
                <a:lnTo>
                  <a:pt x="0" y="4171688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9" name="Rectangle 106"/>
          <p:cNvSpPr/>
          <p:nvPr/>
        </p:nvSpPr>
        <p:spPr>
          <a:xfrm rot="2700000">
            <a:off x="1417237" y="-594312"/>
            <a:ext cx="10287" cy="4033387"/>
          </a:xfrm>
          <a:custGeom>
            <a:avLst/>
            <a:gdLst/>
            <a:ahLst/>
            <a:cxnLst/>
            <a:rect l="l" t="t" r="r" b="b"/>
            <a:pathLst>
              <a:path w="13716" h="5377849">
                <a:moveTo>
                  <a:pt x="0" y="13716"/>
                </a:moveTo>
                <a:lnTo>
                  <a:pt x="13716" y="0"/>
                </a:lnTo>
                <a:lnTo>
                  <a:pt x="13716" y="5377849"/>
                </a:lnTo>
                <a:lnTo>
                  <a:pt x="0" y="536413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0" name="Rectangle 148"/>
          <p:cNvSpPr/>
          <p:nvPr/>
        </p:nvSpPr>
        <p:spPr>
          <a:xfrm rot="18900000" flipV="1">
            <a:off x="1552927" y="-337657"/>
            <a:ext cx="10287" cy="4417175"/>
          </a:xfrm>
          <a:custGeom>
            <a:avLst/>
            <a:gdLst/>
            <a:ahLst/>
            <a:cxnLst/>
            <a:rect l="l" t="t" r="r" b="b"/>
            <a:pathLst>
              <a:path w="13716" h="5889566">
                <a:moveTo>
                  <a:pt x="13716" y="5889566"/>
                </a:moveTo>
                <a:lnTo>
                  <a:pt x="13716" y="0"/>
                </a:lnTo>
                <a:lnTo>
                  <a:pt x="0" y="13716"/>
                </a:lnTo>
                <a:lnTo>
                  <a:pt x="0" y="587585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1" name="Rectangle 323"/>
          <p:cNvSpPr/>
          <p:nvPr/>
        </p:nvSpPr>
        <p:spPr>
          <a:xfrm rot="18900000" flipV="1">
            <a:off x="1236732" y="425708"/>
            <a:ext cx="10287" cy="3522839"/>
          </a:xfrm>
          <a:custGeom>
            <a:avLst/>
            <a:gdLst/>
            <a:ahLst/>
            <a:cxnLst/>
            <a:rect l="l" t="t" r="r" b="b"/>
            <a:pathLst>
              <a:path w="13716" h="4697119">
                <a:moveTo>
                  <a:pt x="13716" y="4697119"/>
                </a:moveTo>
                <a:lnTo>
                  <a:pt x="13716" y="0"/>
                </a:lnTo>
                <a:lnTo>
                  <a:pt x="0" y="13716"/>
                </a:lnTo>
                <a:lnTo>
                  <a:pt x="0" y="468340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2" name="Rectangle 324"/>
          <p:cNvSpPr/>
          <p:nvPr/>
        </p:nvSpPr>
        <p:spPr>
          <a:xfrm rot="18900000" flipV="1">
            <a:off x="920537" y="1189068"/>
            <a:ext cx="10287" cy="2628506"/>
          </a:xfrm>
          <a:custGeom>
            <a:avLst/>
            <a:gdLst/>
            <a:ahLst/>
            <a:cxnLst/>
            <a:rect l="l" t="t" r="r" b="b"/>
            <a:pathLst>
              <a:path w="13716" h="3504674">
                <a:moveTo>
                  <a:pt x="13716" y="3504674"/>
                </a:moveTo>
                <a:lnTo>
                  <a:pt x="13716" y="0"/>
                </a:lnTo>
                <a:lnTo>
                  <a:pt x="0" y="13716"/>
                </a:lnTo>
                <a:lnTo>
                  <a:pt x="0" y="3490958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3" name="Rectangle 325"/>
          <p:cNvSpPr/>
          <p:nvPr/>
        </p:nvSpPr>
        <p:spPr>
          <a:xfrm rot="18900000" flipV="1">
            <a:off x="604343" y="1952431"/>
            <a:ext cx="10287" cy="1734170"/>
          </a:xfrm>
          <a:custGeom>
            <a:avLst/>
            <a:gdLst/>
            <a:ahLst/>
            <a:cxnLst/>
            <a:rect l="l" t="t" r="r" b="b"/>
            <a:pathLst>
              <a:path w="13716" h="2312226">
                <a:moveTo>
                  <a:pt x="13716" y="2312226"/>
                </a:moveTo>
                <a:lnTo>
                  <a:pt x="13716" y="0"/>
                </a:lnTo>
                <a:lnTo>
                  <a:pt x="0" y="13716"/>
                </a:lnTo>
                <a:lnTo>
                  <a:pt x="0" y="229851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4" name="Rectangle 326"/>
          <p:cNvSpPr/>
          <p:nvPr/>
        </p:nvSpPr>
        <p:spPr>
          <a:xfrm rot="18900000" flipV="1">
            <a:off x="288149" y="2715793"/>
            <a:ext cx="10287" cy="839837"/>
          </a:xfrm>
          <a:custGeom>
            <a:avLst/>
            <a:gdLst/>
            <a:ahLst/>
            <a:cxnLst/>
            <a:rect l="l" t="t" r="r" b="b"/>
            <a:pathLst>
              <a:path w="13716" h="1119782">
                <a:moveTo>
                  <a:pt x="13716" y="1119782"/>
                </a:moveTo>
                <a:lnTo>
                  <a:pt x="13716" y="0"/>
                </a:lnTo>
                <a:lnTo>
                  <a:pt x="0" y="13716"/>
                </a:lnTo>
                <a:lnTo>
                  <a:pt x="0" y="110606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5" name="Rectangle 371"/>
          <p:cNvSpPr/>
          <p:nvPr/>
        </p:nvSpPr>
        <p:spPr>
          <a:xfrm rot="18900000" flipV="1">
            <a:off x="2028885" y="-715312"/>
            <a:ext cx="10287" cy="4859625"/>
          </a:xfrm>
          <a:custGeom>
            <a:avLst/>
            <a:gdLst/>
            <a:ahLst/>
            <a:cxnLst/>
            <a:rect l="l" t="t" r="r" b="b"/>
            <a:pathLst>
              <a:path w="13716" h="6479500">
                <a:moveTo>
                  <a:pt x="0" y="6479500"/>
                </a:moveTo>
                <a:lnTo>
                  <a:pt x="13716" y="6465784"/>
                </a:lnTo>
                <a:lnTo>
                  <a:pt x="13716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6" name="Rectangle 373"/>
          <p:cNvSpPr/>
          <p:nvPr/>
        </p:nvSpPr>
        <p:spPr>
          <a:xfrm rot="18900000" flipV="1">
            <a:off x="3293664" y="-715312"/>
            <a:ext cx="10287" cy="4859625"/>
          </a:xfrm>
          <a:custGeom>
            <a:avLst/>
            <a:gdLst/>
            <a:ahLst/>
            <a:cxnLst/>
            <a:rect l="l" t="t" r="r" b="b"/>
            <a:pathLst>
              <a:path w="13716" h="6479500">
                <a:moveTo>
                  <a:pt x="0" y="6479500"/>
                </a:moveTo>
                <a:lnTo>
                  <a:pt x="13716" y="6465784"/>
                </a:lnTo>
                <a:lnTo>
                  <a:pt x="13716" y="0"/>
                </a:lnTo>
                <a:lnTo>
                  <a:pt x="0" y="13715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7" name="Rectangle 375"/>
          <p:cNvSpPr/>
          <p:nvPr/>
        </p:nvSpPr>
        <p:spPr>
          <a:xfrm rot="18900000" flipV="1">
            <a:off x="4558444" y="-715312"/>
            <a:ext cx="10287" cy="4859626"/>
          </a:xfrm>
          <a:custGeom>
            <a:avLst/>
            <a:gdLst/>
            <a:ahLst/>
            <a:cxnLst/>
            <a:rect l="l" t="t" r="r" b="b"/>
            <a:pathLst>
              <a:path w="13716" h="6479501">
                <a:moveTo>
                  <a:pt x="0" y="6479501"/>
                </a:moveTo>
                <a:lnTo>
                  <a:pt x="13716" y="6465785"/>
                </a:lnTo>
                <a:lnTo>
                  <a:pt x="13716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8" name="Rectangle 376"/>
          <p:cNvSpPr/>
          <p:nvPr/>
        </p:nvSpPr>
        <p:spPr>
          <a:xfrm rot="18900000" flipV="1">
            <a:off x="5187196" y="-724093"/>
            <a:ext cx="10287" cy="4869914"/>
          </a:xfrm>
          <a:custGeom>
            <a:avLst/>
            <a:gdLst/>
            <a:ahLst/>
            <a:cxnLst/>
            <a:rect l="l" t="t" r="r" b="b"/>
            <a:pathLst>
              <a:path w="13716" h="6493219">
                <a:moveTo>
                  <a:pt x="13716" y="6479504"/>
                </a:moveTo>
                <a:lnTo>
                  <a:pt x="13716" y="0"/>
                </a:lnTo>
                <a:lnTo>
                  <a:pt x="0" y="13717"/>
                </a:lnTo>
                <a:lnTo>
                  <a:pt x="0" y="6493219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9" name="Rectangle 377"/>
          <p:cNvSpPr/>
          <p:nvPr/>
        </p:nvSpPr>
        <p:spPr>
          <a:xfrm rot="18900000" flipV="1">
            <a:off x="5819586" y="-724093"/>
            <a:ext cx="10288" cy="4869914"/>
          </a:xfrm>
          <a:custGeom>
            <a:avLst/>
            <a:gdLst/>
            <a:ahLst/>
            <a:cxnLst/>
            <a:rect l="l" t="t" r="r" b="b"/>
            <a:pathLst>
              <a:path w="13717" h="6493219">
                <a:moveTo>
                  <a:pt x="0" y="6493219"/>
                </a:moveTo>
                <a:lnTo>
                  <a:pt x="13716" y="6479502"/>
                </a:lnTo>
                <a:lnTo>
                  <a:pt x="13717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0" name="Rectangle 378"/>
          <p:cNvSpPr/>
          <p:nvPr/>
        </p:nvSpPr>
        <p:spPr>
          <a:xfrm rot="18900000" flipV="1">
            <a:off x="6451975" y="-724093"/>
            <a:ext cx="10287" cy="4869914"/>
          </a:xfrm>
          <a:custGeom>
            <a:avLst/>
            <a:gdLst/>
            <a:ahLst/>
            <a:cxnLst/>
            <a:rect l="l" t="t" r="r" b="b"/>
            <a:pathLst>
              <a:path w="13716" h="6493219">
                <a:moveTo>
                  <a:pt x="13716" y="6479504"/>
                </a:moveTo>
                <a:lnTo>
                  <a:pt x="13716" y="0"/>
                </a:lnTo>
                <a:lnTo>
                  <a:pt x="0" y="13716"/>
                </a:lnTo>
                <a:lnTo>
                  <a:pt x="0" y="6493219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1" name="Rectangle 138"/>
          <p:cNvSpPr/>
          <p:nvPr/>
        </p:nvSpPr>
        <p:spPr>
          <a:xfrm rot="18900000" flipV="1">
            <a:off x="7566726" y="-661951"/>
            <a:ext cx="10287" cy="4445573"/>
          </a:xfrm>
          <a:custGeom>
            <a:avLst/>
            <a:gdLst/>
            <a:ahLst/>
            <a:cxnLst/>
            <a:rect l="l" t="t" r="r" b="b"/>
            <a:pathLst>
              <a:path w="13716" h="5927431">
                <a:moveTo>
                  <a:pt x="0" y="5927431"/>
                </a:moveTo>
                <a:lnTo>
                  <a:pt x="13715" y="5913716"/>
                </a:lnTo>
                <a:lnTo>
                  <a:pt x="13716" y="137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2" name="Rectangle 139"/>
          <p:cNvSpPr/>
          <p:nvPr/>
        </p:nvSpPr>
        <p:spPr>
          <a:xfrm rot="18900000" flipV="1">
            <a:off x="7882922" y="-530978"/>
            <a:ext cx="10287" cy="3551239"/>
          </a:xfrm>
          <a:custGeom>
            <a:avLst/>
            <a:gdLst/>
            <a:ahLst/>
            <a:cxnLst/>
            <a:rect l="l" t="t" r="r" b="b"/>
            <a:pathLst>
              <a:path w="13716" h="4734985">
                <a:moveTo>
                  <a:pt x="0" y="4734985"/>
                </a:moveTo>
                <a:lnTo>
                  <a:pt x="13715" y="4721270"/>
                </a:lnTo>
                <a:lnTo>
                  <a:pt x="13716" y="137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3" name="Rectangle 140"/>
          <p:cNvSpPr/>
          <p:nvPr/>
        </p:nvSpPr>
        <p:spPr>
          <a:xfrm rot="18900000" flipV="1">
            <a:off x="8199116" y="-400007"/>
            <a:ext cx="10287" cy="2656905"/>
          </a:xfrm>
          <a:custGeom>
            <a:avLst/>
            <a:gdLst/>
            <a:ahLst/>
            <a:cxnLst/>
            <a:rect l="l" t="t" r="r" b="b"/>
            <a:pathLst>
              <a:path w="13716" h="3542540">
                <a:moveTo>
                  <a:pt x="0" y="3542540"/>
                </a:moveTo>
                <a:lnTo>
                  <a:pt x="13715" y="3528825"/>
                </a:lnTo>
                <a:lnTo>
                  <a:pt x="13716" y="137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4" name="Rectangle 141"/>
          <p:cNvSpPr/>
          <p:nvPr/>
        </p:nvSpPr>
        <p:spPr>
          <a:xfrm rot="18900000" flipV="1">
            <a:off x="8515311" y="-269034"/>
            <a:ext cx="10287" cy="1762571"/>
          </a:xfrm>
          <a:custGeom>
            <a:avLst/>
            <a:gdLst/>
            <a:ahLst/>
            <a:cxnLst/>
            <a:rect l="l" t="t" r="r" b="b"/>
            <a:pathLst>
              <a:path w="13716" h="2350095">
                <a:moveTo>
                  <a:pt x="0" y="2350095"/>
                </a:moveTo>
                <a:lnTo>
                  <a:pt x="13715" y="2336380"/>
                </a:lnTo>
                <a:lnTo>
                  <a:pt x="13716" y="1371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5" name="Rectangle 142"/>
          <p:cNvSpPr/>
          <p:nvPr/>
        </p:nvSpPr>
        <p:spPr>
          <a:xfrm rot="18900000" flipV="1">
            <a:off x="8831506" y="-138063"/>
            <a:ext cx="10287" cy="868238"/>
          </a:xfrm>
          <a:custGeom>
            <a:avLst/>
            <a:gdLst/>
            <a:ahLst/>
            <a:cxnLst/>
            <a:rect l="l" t="t" r="r" b="b"/>
            <a:pathLst>
              <a:path w="13716" h="1157650">
                <a:moveTo>
                  <a:pt x="0" y="1157650"/>
                </a:moveTo>
                <a:lnTo>
                  <a:pt x="13716" y="1143934"/>
                </a:lnTo>
                <a:lnTo>
                  <a:pt x="13716" y="137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6" name="Rectangle 372"/>
          <p:cNvSpPr/>
          <p:nvPr/>
        </p:nvSpPr>
        <p:spPr>
          <a:xfrm rot="18900000" flipV="1">
            <a:off x="2657638" y="-724093"/>
            <a:ext cx="10287" cy="4869914"/>
          </a:xfrm>
          <a:custGeom>
            <a:avLst/>
            <a:gdLst/>
            <a:ahLst/>
            <a:cxnLst/>
            <a:rect l="l" t="t" r="r" b="b"/>
            <a:pathLst>
              <a:path w="13716" h="6493219">
                <a:moveTo>
                  <a:pt x="0" y="6493219"/>
                </a:moveTo>
                <a:lnTo>
                  <a:pt x="13716" y="6479503"/>
                </a:lnTo>
                <a:lnTo>
                  <a:pt x="13716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7" name="Rectangle 374"/>
          <p:cNvSpPr/>
          <p:nvPr/>
        </p:nvSpPr>
        <p:spPr>
          <a:xfrm rot="18900000" flipV="1">
            <a:off x="3922417" y="-724094"/>
            <a:ext cx="10287" cy="4869915"/>
          </a:xfrm>
          <a:custGeom>
            <a:avLst/>
            <a:gdLst/>
            <a:ahLst/>
            <a:cxnLst/>
            <a:rect l="l" t="t" r="r" b="b"/>
            <a:pathLst>
              <a:path w="13716" h="6493220">
                <a:moveTo>
                  <a:pt x="0" y="6493220"/>
                </a:moveTo>
                <a:lnTo>
                  <a:pt x="13716" y="6479504"/>
                </a:lnTo>
                <a:lnTo>
                  <a:pt x="13716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8" name="Teardrop 3"/>
          <p:cNvSpPr/>
          <p:nvPr/>
        </p:nvSpPr>
        <p:spPr>
          <a:xfrm rot="5400000" flipH="1" flipV="1">
            <a:off x="483207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9" name="Oval 1608"/>
          <p:cNvSpPr/>
          <p:nvPr/>
        </p:nvSpPr>
        <p:spPr>
          <a:xfrm>
            <a:off x="534037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10" name="Teardrop 3"/>
          <p:cNvSpPr/>
          <p:nvPr/>
        </p:nvSpPr>
        <p:spPr>
          <a:xfrm rot="5400000" flipH="1" flipV="1">
            <a:off x="-111581" y="193736"/>
            <a:ext cx="459486" cy="236325"/>
          </a:xfrm>
          <a:custGeom>
            <a:avLst/>
            <a:gdLst/>
            <a:ahLst/>
            <a:cxnLst/>
            <a:rect l="l" t="t" r="r" b="b"/>
            <a:pathLst>
              <a:path w="612648" h="315100">
                <a:moveTo>
                  <a:pt x="239386" y="75670"/>
                </a:moveTo>
                <a:cubicBezTo>
                  <a:pt x="230866" y="67149"/>
                  <a:pt x="224313" y="57406"/>
                  <a:pt x="219944" y="46909"/>
                </a:cubicBezTo>
                <a:cubicBezTo>
                  <a:pt x="207099" y="60107"/>
                  <a:pt x="182914" y="65356"/>
                  <a:pt x="163810" y="64989"/>
                </a:cubicBezTo>
                <a:cubicBezTo>
                  <a:pt x="113791" y="64989"/>
                  <a:pt x="73243" y="105538"/>
                  <a:pt x="73243" y="155556"/>
                </a:cubicBezTo>
                <a:cubicBezTo>
                  <a:pt x="73243" y="179467"/>
                  <a:pt x="82509" y="201213"/>
                  <a:pt x="97830" y="217225"/>
                </a:cubicBezTo>
                <a:close/>
                <a:moveTo>
                  <a:pt x="268191" y="95157"/>
                </a:moveTo>
                <a:cubicBezTo>
                  <a:pt x="257695" y="90787"/>
                  <a:pt x="247952" y="84234"/>
                  <a:pt x="239431" y="75715"/>
                </a:cubicBezTo>
                <a:lnTo>
                  <a:pt x="97875" y="217270"/>
                </a:lnTo>
                <a:cubicBezTo>
                  <a:pt x="113887" y="232591"/>
                  <a:pt x="135634" y="241857"/>
                  <a:pt x="159544" y="241857"/>
                </a:cubicBezTo>
                <a:cubicBezTo>
                  <a:pt x="184553" y="241857"/>
                  <a:pt x="207195" y="231720"/>
                  <a:pt x="223585" y="215331"/>
                </a:cubicBezTo>
                <a:cubicBezTo>
                  <a:pt x="239974" y="198941"/>
                  <a:pt x="250111" y="176299"/>
                  <a:pt x="250111" y="151290"/>
                </a:cubicBezTo>
                <a:cubicBezTo>
                  <a:pt x="249745" y="132187"/>
                  <a:pt x="254994" y="108002"/>
                  <a:pt x="268191" y="95157"/>
                </a:cubicBezTo>
                <a:close/>
                <a:moveTo>
                  <a:pt x="391275" y="232488"/>
                </a:moveTo>
                <a:cubicBezTo>
                  <a:pt x="366688" y="214199"/>
                  <a:pt x="350981" y="184860"/>
                  <a:pt x="350981" y="151853"/>
                </a:cubicBezTo>
                <a:cubicBezTo>
                  <a:pt x="351479" y="125869"/>
                  <a:pt x="347689" y="109892"/>
                  <a:pt x="331337" y="99934"/>
                </a:cubicBezTo>
                <a:cubicBezTo>
                  <a:pt x="315088" y="104415"/>
                  <a:pt x="297874" y="104335"/>
                  <a:pt x="281637" y="99721"/>
                </a:cubicBezTo>
                <a:cubicBezTo>
                  <a:pt x="265010" y="109675"/>
                  <a:pt x="261165" y="125694"/>
                  <a:pt x="261667" y="151853"/>
                </a:cubicBezTo>
                <a:cubicBezTo>
                  <a:pt x="261667" y="179968"/>
                  <a:pt x="250271" y="205421"/>
                  <a:pt x="231846" y="223846"/>
                </a:cubicBezTo>
                <a:lnTo>
                  <a:pt x="221347" y="232509"/>
                </a:lnTo>
                <a:cubicBezTo>
                  <a:pt x="224389" y="249009"/>
                  <a:pt x="232545" y="264623"/>
                  <a:pt x="245300" y="277378"/>
                </a:cubicBezTo>
                <a:cubicBezTo>
                  <a:pt x="262207" y="294285"/>
                  <a:pt x="284136" y="303111"/>
                  <a:pt x="306292" y="303599"/>
                </a:cubicBezTo>
                <a:lnTo>
                  <a:pt x="306292" y="218433"/>
                </a:lnTo>
                <a:lnTo>
                  <a:pt x="306356" y="218433"/>
                </a:lnTo>
                <a:lnTo>
                  <a:pt x="306356" y="303599"/>
                </a:lnTo>
                <a:cubicBezTo>
                  <a:pt x="328512" y="303110"/>
                  <a:pt x="350441" y="294285"/>
                  <a:pt x="367348" y="277378"/>
                </a:cubicBezTo>
                <a:cubicBezTo>
                  <a:pt x="380109" y="264617"/>
                  <a:pt x="388266" y="248996"/>
                  <a:pt x="391275" y="232488"/>
                </a:cubicBezTo>
                <a:close/>
                <a:moveTo>
                  <a:pt x="514773" y="217271"/>
                </a:moveTo>
                <a:lnTo>
                  <a:pt x="373218" y="75716"/>
                </a:lnTo>
                <a:cubicBezTo>
                  <a:pt x="364700" y="84231"/>
                  <a:pt x="354962" y="90781"/>
                  <a:pt x="344508" y="95209"/>
                </a:cubicBezTo>
                <a:cubicBezTo>
                  <a:pt x="357668" y="108066"/>
                  <a:pt x="362903" y="132212"/>
                  <a:pt x="362537" y="151290"/>
                </a:cubicBezTo>
                <a:cubicBezTo>
                  <a:pt x="362537" y="201309"/>
                  <a:pt x="403085" y="241857"/>
                  <a:pt x="453104" y="241857"/>
                </a:cubicBezTo>
                <a:cubicBezTo>
                  <a:pt x="477015" y="241857"/>
                  <a:pt x="498761" y="232592"/>
                  <a:pt x="514773" y="217271"/>
                </a:cubicBezTo>
                <a:close/>
                <a:moveTo>
                  <a:pt x="539405" y="155556"/>
                </a:moveTo>
                <a:cubicBezTo>
                  <a:pt x="539405" y="105538"/>
                  <a:pt x="498856" y="64989"/>
                  <a:pt x="448838" y="64989"/>
                </a:cubicBezTo>
                <a:cubicBezTo>
                  <a:pt x="429760" y="65355"/>
                  <a:pt x="405614" y="60121"/>
                  <a:pt x="392756" y="46961"/>
                </a:cubicBezTo>
                <a:cubicBezTo>
                  <a:pt x="388329" y="57415"/>
                  <a:pt x="381778" y="67153"/>
                  <a:pt x="373263" y="75671"/>
                </a:cubicBezTo>
                <a:lnTo>
                  <a:pt x="514818" y="217225"/>
                </a:lnTo>
                <a:cubicBezTo>
                  <a:pt x="530139" y="201213"/>
                  <a:pt x="539405" y="179467"/>
                  <a:pt x="539405" y="155556"/>
                </a:cubicBezTo>
                <a:close/>
                <a:moveTo>
                  <a:pt x="612648" y="8776"/>
                </a:moveTo>
                <a:cubicBezTo>
                  <a:pt x="612257" y="34030"/>
                  <a:pt x="602326" y="59101"/>
                  <a:pt x="583058" y="78369"/>
                </a:cubicBezTo>
                <a:cubicBezTo>
                  <a:pt x="569890" y="91537"/>
                  <a:pt x="554014" y="100343"/>
                  <a:pt x="537134" y="104416"/>
                </a:cubicBezTo>
                <a:cubicBezTo>
                  <a:pt x="546224" y="119205"/>
                  <a:pt x="551214" y="136643"/>
                  <a:pt x="551214" y="155247"/>
                </a:cubicBezTo>
                <a:cubicBezTo>
                  <a:pt x="551214" y="182497"/>
                  <a:pt x="540509" y="207247"/>
                  <a:pt x="522928" y="225380"/>
                </a:cubicBezTo>
                <a:lnTo>
                  <a:pt x="522928" y="225380"/>
                </a:lnTo>
                <a:cubicBezTo>
                  <a:pt x="504794" y="242961"/>
                  <a:pt x="480044" y="253667"/>
                  <a:pt x="452794" y="253667"/>
                </a:cubicBezTo>
                <a:cubicBezTo>
                  <a:pt x="434191" y="253667"/>
                  <a:pt x="416753" y="248677"/>
                  <a:pt x="401964" y="239586"/>
                </a:cubicBezTo>
                <a:cubicBezTo>
                  <a:pt x="397891" y="256466"/>
                  <a:pt x="389084" y="272342"/>
                  <a:pt x="375917" y="285509"/>
                </a:cubicBezTo>
                <a:cubicBezTo>
                  <a:pt x="356649" y="304778"/>
                  <a:pt x="331578" y="314709"/>
                  <a:pt x="306324" y="315100"/>
                </a:cubicBezTo>
                <a:lnTo>
                  <a:pt x="306324" y="315100"/>
                </a:lnTo>
                <a:cubicBezTo>
                  <a:pt x="281070" y="314709"/>
                  <a:pt x="255999" y="304778"/>
                  <a:pt x="236731" y="285509"/>
                </a:cubicBezTo>
                <a:cubicBezTo>
                  <a:pt x="223570" y="272349"/>
                  <a:pt x="214766" y="256482"/>
                  <a:pt x="210610" y="239626"/>
                </a:cubicBezTo>
                <a:cubicBezTo>
                  <a:pt x="195839" y="248693"/>
                  <a:pt x="178427" y="253666"/>
                  <a:pt x="159854" y="253666"/>
                </a:cubicBezTo>
                <a:cubicBezTo>
                  <a:pt x="132604" y="253666"/>
                  <a:pt x="107854" y="242961"/>
                  <a:pt x="89720" y="225380"/>
                </a:cubicBezTo>
                <a:lnTo>
                  <a:pt x="89720" y="225380"/>
                </a:lnTo>
                <a:cubicBezTo>
                  <a:pt x="72139" y="207247"/>
                  <a:pt x="61434" y="182497"/>
                  <a:pt x="61434" y="155247"/>
                </a:cubicBezTo>
                <a:cubicBezTo>
                  <a:pt x="61434" y="136673"/>
                  <a:pt x="66407" y="119262"/>
                  <a:pt x="75474" y="104490"/>
                </a:cubicBezTo>
                <a:cubicBezTo>
                  <a:pt x="58618" y="100334"/>
                  <a:pt x="42751" y="91530"/>
                  <a:pt x="29591" y="78369"/>
                </a:cubicBezTo>
                <a:cubicBezTo>
                  <a:pt x="10322" y="59101"/>
                  <a:pt x="391" y="34030"/>
                  <a:pt x="0" y="8776"/>
                </a:cubicBezTo>
                <a:lnTo>
                  <a:pt x="0" y="8776"/>
                </a:lnTo>
                <a:lnTo>
                  <a:pt x="1828" y="0"/>
                </a:lnTo>
                <a:lnTo>
                  <a:pt x="13374" y="0"/>
                </a:lnTo>
                <a:cubicBezTo>
                  <a:pt x="11782" y="2802"/>
                  <a:pt x="11567" y="5771"/>
                  <a:pt x="11501" y="8744"/>
                </a:cubicBezTo>
                <a:lnTo>
                  <a:pt x="96667" y="8744"/>
                </a:lnTo>
                <a:lnTo>
                  <a:pt x="96667" y="8808"/>
                </a:lnTo>
                <a:lnTo>
                  <a:pt x="11501" y="8808"/>
                </a:lnTo>
                <a:cubicBezTo>
                  <a:pt x="11989" y="30964"/>
                  <a:pt x="20815" y="52893"/>
                  <a:pt x="37722" y="69800"/>
                </a:cubicBezTo>
                <a:cubicBezTo>
                  <a:pt x="50477" y="82555"/>
                  <a:pt x="66091" y="90711"/>
                  <a:pt x="82591" y="93753"/>
                </a:cubicBezTo>
                <a:cubicBezTo>
                  <a:pt x="100880" y="69151"/>
                  <a:pt x="130228" y="53433"/>
                  <a:pt x="163247" y="53433"/>
                </a:cubicBezTo>
                <a:cubicBezTo>
                  <a:pt x="186137" y="53872"/>
                  <a:pt x="201262" y="50984"/>
                  <a:pt x="211354" y="39116"/>
                </a:cubicBezTo>
                <a:cubicBezTo>
                  <a:pt x="212796" y="37420"/>
                  <a:pt x="214135" y="35542"/>
                  <a:pt x="215380" y="33463"/>
                </a:cubicBezTo>
                <a:lnTo>
                  <a:pt x="215236" y="0"/>
                </a:lnTo>
                <a:lnTo>
                  <a:pt x="223506" y="0"/>
                </a:lnTo>
                <a:cubicBezTo>
                  <a:pt x="219687" y="24354"/>
                  <a:pt x="227777" y="49750"/>
                  <a:pt x="246535" y="68520"/>
                </a:cubicBezTo>
                <a:lnTo>
                  <a:pt x="254763" y="60293"/>
                </a:lnTo>
                <a:cubicBezTo>
                  <a:pt x="254771" y="60299"/>
                  <a:pt x="254778" y="60307"/>
                  <a:pt x="254786" y="60315"/>
                </a:cubicBezTo>
                <a:lnTo>
                  <a:pt x="254808" y="60338"/>
                </a:lnTo>
                <a:lnTo>
                  <a:pt x="246580" y="68565"/>
                </a:lnTo>
                <a:cubicBezTo>
                  <a:pt x="279582" y="101547"/>
                  <a:pt x="333066" y="101547"/>
                  <a:pt x="366068" y="68565"/>
                </a:cubicBezTo>
                <a:lnTo>
                  <a:pt x="357840" y="60338"/>
                </a:lnTo>
                <a:cubicBezTo>
                  <a:pt x="357847" y="60330"/>
                  <a:pt x="357855" y="60322"/>
                  <a:pt x="357862" y="60315"/>
                </a:cubicBezTo>
                <a:lnTo>
                  <a:pt x="357885" y="60293"/>
                </a:lnTo>
                <a:lnTo>
                  <a:pt x="366113" y="68520"/>
                </a:lnTo>
                <a:cubicBezTo>
                  <a:pt x="384871" y="49750"/>
                  <a:pt x="392961" y="24354"/>
                  <a:pt x="389142" y="0"/>
                </a:cubicBezTo>
                <a:lnTo>
                  <a:pt x="397337" y="0"/>
                </a:lnTo>
                <a:cubicBezTo>
                  <a:pt x="401478" y="11094"/>
                  <a:pt x="400548" y="22668"/>
                  <a:pt x="397481" y="33790"/>
                </a:cubicBezTo>
                <a:cubicBezTo>
                  <a:pt x="407439" y="50142"/>
                  <a:pt x="423417" y="53932"/>
                  <a:pt x="449401" y="53433"/>
                </a:cubicBezTo>
                <a:cubicBezTo>
                  <a:pt x="482407" y="53434"/>
                  <a:pt x="511746" y="69140"/>
                  <a:pt x="530035" y="93727"/>
                </a:cubicBezTo>
                <a:cubicBezTo>
                  <a:pt x="546543" y="90718"/>
                  <a:pt x="562165" y="82561"/>
                  <a:pt x="574926" y="69800"/>
                </a:cubicBezTo>
                <a:cubicBezTo>
                  <a:pt x="591833" y="52893"/>
                  <a:pt x="600658" y="30964"/>
                  <a:pt x="601147" y="8808"/>
                </a:cubicBezTo>
                <a:lnTo>
                  <a:pt x="515981" y="8808"/>
                </a:lnTo>
                <a:lnTo>
                  <a:pt x="515981" y="8744"/>
                </a:lnTo>
                <a:lnTo>
                  <a:pt x="601147" y="8744"/>
                </a:lnTo>
                <a:lnTo>
                  <a:pt x="599274" y="0"/>
                </a:lnTo>
                <a:lnTo>
                  <a:pt x="610820" y="0"/>
                </a:lnTo>
                <a:cubicBezTo>
                  <a:pt x="612423" y="2826"/>
                  <a:pt x="612602" y="5800"/>
                  <a:pt x="612648" y="8776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1" name="Oval 1610"/>
          <p:cNvSpPr/>
          <p:nvPr/>
        </p:nvSpPr>
        <p:spPr>
          <a:xfrm>
            <a:off x="28309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12" name="Teardrop 3"/>
          <p:cNvSpPr/>
          <p:nvPr/>
        </p:nvSpPr>
        <p:spPr>
          <a:xfrm rot="5400000" flipH="1" flipV="1">
            <a:off x="104064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3" name="Teardrop 3"/>
          <p:cNvSpPr/>
          <p:nvPr/>
        </p:nvSpPr>
        <p:spPr>
          <a:xfrm rot="5400000" flipH="1" flipV="1">
            <a:off x="167255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4" name="Teardrop 3"/>
          <p:cNvSpPr/>
          <p:nvPr/>
        </p:nvSpPr>
        <p:spPr>
          <a:xfrm rot="5400000" flipH="1" flipV="1">
            <a:off x="230445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5" name="Teardrop 3"/>
          <p:cNvSpPr/>
          <p:nvPr/>
        </p:nvSpPr>
        <p:spPr>
          <a:xfrm rot="5400000" flipH="1" flipV="1">
            <a:off x="293636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6" name="Teardrop 3"/>
          <p:cNvSpPr/>
          <p:nvPr/>
        </p:nvSpPr>
        <p:spPr>
          <a:xfrm rot="5400000" flipH="1" flipV="1">
            <a:off x="356826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7" name="Teardrop 3"/>
          <p:cNvSpPr/>
          <p:nvPr/>
        </p:nvSpPr>
        <p:spPr>
          <a:xfrm rot="5400000" flipH="1" flipV="1">
            <a:off x="420017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8" name="Oval 1617"/>
          <p:cNvSpPr/>
          <p:nvPr/>
        </p:nvSpPr>
        <p:spPr>
          <a:xfrm>
            <a:off x="91525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19" name="Oval 1618"/>
          <p:cNvSpPr/>
          <p:nvPr/>
        </p:nvSpPr>
        <p:spPr>
          <a:xfrm>
            <a:off x="154741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20" name="Oval 1619"/>
          <p:cNvSpPr/>
          <p:nvPr/>
        </p:nvSpPr>
        <p:spPr>
          <a:xfrm>
            <a:off x="217957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21" name="Oval 1620"/>
          <p:cNvSpPr/>
          <p:nvPr/>
        </p:nvSpPr>
        <p:spPr>
          <a:xfrm>
            <a:off x="281173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22" name="Oval 1621"/>
          <p:cNvSpPr/>
          <p:nvPr/>
        </p:nvSpPr>
        <p:spPr>
          <a:xfrm>
            <a:off x="344389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23" name="Oval 1622"/>
          <p:cNvSpPr/>
          <p:nvPr/>
        </p:nvSpPr>
        <p:spPr>
          <a:xfrm>
            <a:off x="407605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24" name="Oval 1623"/>
          <p:cNvSpPr/>
          <p:nvPr/>
        </p:nvSpPr>
        <p:spPr>
          <a:xfrm>
            <a:off x="470821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25" name="Teardrop 3"/>
          <p:cNvSpPr/>
          <p:nvPr/>
        </p:nvSpPr>
        <p:spPr>
          <a:xfrm rot="5400000" flipH="1" flipV="1">
            <a:off x="609588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26" name="Oval 1625"/>
          <p:cNvSpPr/>
          <p:nvPr/>
        </p:nvSpPr>
        <p:spPr>
          <a:xfrm>
            <a:off x="660469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27" name="Teardrop 3"/>
          <p:cNvSpPr/>
          <p:nvPr/>
        </p:nvSpPr>
        <p:spPr>
          <a:xfrm rot="5400000" flipH="1" flipV="1">
            <a:off x="546398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28" name="Oval 1627"/>
          <p:cNvSpPr/>
          <p:nvPr/>
        </p:nvSpPr>
        <p:spPr>
          <a:xfrm>
            <a:off x="597253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29" name="Teardrop 3"/>
          <p:cNvSpPr/>
          <p:nvPr/>
        </p:nvSpPr>
        <p:spPr>
          <a:xfrm rot="5400000" flipH="1" flipV="1">
            <a:off x="735969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0" name="Oval 1629"/>
          <p:cNvSpPr/>
          <p:nvPr/>
        </p:nvSpPr>
        <p:spPr>
          <a:xfrm>
            <a:off x="786901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31" name="Teardrop 3"/>
          <p:cNvSpPr/>
          <p:nvPr/>
        </p:nvSpPr>
        <p:spPr>
          <a:xfrm rot="5400000" flipH="1" flipV="1">
            <a:off x="672779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2" name="Oval 1631"/>
          <p:cNvSpPr/>
          <p:nvPr/>
        </p:nvSpPr>
        <p:spPr>
          <a:xfrm>
            <a:off x="723685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33" name="Teardrop 3"/>
          <p:cNvSpPr/>
          <p:nvPr/>
        </p:nvSpPr>
        <p:spPr>
          <a:xfrm rot="5400000" flipH="1" flipV="1">
            <a:off x="8623508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4" name="Teardrop 3"/>
          <p:cNvSpPr/>
          <p:nvPr/>
        </p:nvSpPr>
        <p:spPr>
          <a:xfrm rot="5400000" flipH="1" flipV="1">
            <a:off x="799160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5" name="Oval 1634"/>
          <p:cNvSpPr/>
          <p:nvPr/>
        </p:nvSpPr>
        <p:spPr>
          <a:xfrm>
            <a:off x="850117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636" name="Teardrop 3"/>
          <p:cNvSpPr/>
          <p:nvPr/>
        </p:nvSpPr>
        <p:spPr>
          <a:xfrm rot="5400000" flipH="1" flipV="1">
            <a:off x="40874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7" name="Oval 1636"/>
          <p:cNvSpPr/>
          <p:nvPr/>
        </p:nvSpPr>
        <p:spPr>
          <a:xfrm>
            <a:off x="499838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8" name="Oval 167"/>
          <p:cNvSpPr/>
          <p:nvPr/>
        </p:nvSpPr>
        <p:spPr>
          <a:xfrm>
            <a:off x="0" y="248774"/>
            <a:ext cx="70457" cy="3180227"/>
          </a:xfrm>
          <a:custGeom>
            <a:avLst/>
            <a:gdLst/>
            <a:ahLst/>
            <a:cxnLst/>
            <a:rect l="l" t="t" r="r" b="b"/>
            <a:pathLst>
              <a:path w="93942" h="4240302">
                <a:moveTo>
                  <a:pt x="9066" y="4229620"/>
                </a:moveTo>
                <a:cubicBezTo>
                  <a:pt x="23324" y="4229620"/>
                  <a:pt x="36761" y="4233136"/>
                  <a:pt x="48054" y="4240302"/>
                </a:cubicBezTo>
                <a:lnTo>
                  <a:pt x="0" y="4240302"/>
                </a:lnTo>
                <a:lnTo>
                  <a:pt x="0" y="4231451"/>
                </a:lnTo>
                <a:cubicBezTo>
                  <a:pt x="2881" y="4229788"/>
                  <a:pt x="5954" y="4229620"/>
                  <a:pt x="9066" y="4229620"/>
                </a:cubicBezTo>
                <a:close/>
                <a:moveTo>
                  <a:pt x="9066" y="3380947"/>
                </a:moveTo>
                <a:cubicBezTo>
                  <a:pt x="55942" y="3380947"/>
                  <a:pt x="93942" y="3418947"/>
                  <a:pt x="93942" y="3465822"/>
                </a:cubicBezTo>
                <a:cubicBezTo>
                  <a:pt x="93942" y="3512697"/>
                  <a:pt x="55942" y="3550697"/>
                  <a:pt x="9066" y="3550697"/>
                </a:cubicBezTo>
                <a:lnTo>
                  <a:pt x="0" y="3548867"/>
                </a:lnTo>
                <a:lnTo>
                  <a:pt x="0" y="3382777"/>
                </a:lnTo>
                <a:cubicBezTo>
                  <a:pt x="2881" y="3381115"/>
                  <a:pt x="5954" y="3380947"/>
                  <a:pt x="9066" y="3380947"/>
                </a:cubicBezTo>
                <a:close/>
                <a:moveTo>
                  <a:pt x="9066" y="2536768"/>
                </a:moveTo>
                <a:cubicBezTo>
                  <a:pt x="55942" y="2536768"/>
                  <a:pt x="93942" y="2574768"/>
                  <a:pt x="93942" y="2621643"/>
                </a:cubicBezTo>
                <a:cubicBezTo>
                  <a:pt x="93942" y="2668518"/>
                  <a:pt x="55942" y="2706518"/>
                  <a:pt x="9066" y="2706518"/>
                </a:cubicBezTo>
                <a:lnTo>
                  <a:pt x="0" y="2704688"/>
                </a:lnTo>
                <a:lnTo>
                  <a:pt x="0" y="2538598"/>
                </a:lnTo>
                <a:cubicBezTo>
                  <a:pt x="2881" y="2536936"/>
                  <a:pt x="5954" y="2536768"/>
                  <a:pt x="9066" y="2536768"/>
                </a:cubicBezTo>
                <a:close/>
                <a:moveTo>
                  <a:pt x="9066" y="1688095"/>
                </a:moveTo>
                <a:cubicBezTo>
                  <a:pt x="55942" y="1688095"/>
                  <a:pt x="93942" y="1726095"/>
                  <a:pt x="93942" y="1772970"/>
                </a:cubicBezTo>
                <a:cubicBezTo>
                  <a:pt x="93942" y="1819845"/>
                  <a:pt x="55942" y="1857845"/>
                  <a:pt x="9066" y="1857845"/>
                </a:cubicBezTo>
                <a:lnTo>
                  <a:pt x="0" y="1856015"/>
                </a:lnTo>
                <a:lnTo>
                  <a:pt x="0" y="1689925"/>
                </a:lnTo>
                <a:cubicBezTo>
                  <a:pt x="2881" y="1688263"/>
                  <a:pt x="5954" y="1688095"/>
                  <a:pt x="9066" y="1688095"/>
                </a:cubicBezTo>
                <a:close/>
                <a:moveTo>
                  <a:pt x="9066" y="845498"/>
                </a:moveTo>
                <a:cubicBezTo>
                  <a:pt x="55942" y="845498"/>
                  <a:pt x="93942" y="883498"/>
                  <a:pt x="93942" y="930373"/>
                </a:cubicBezTo>
                <a:cubicBezTo>
                  <a:pt x="93942" y="977248"/>
                  <a:pt x="55942" y="1015248"/>
                  <a:pt x="9066" y="1015248"/>
                </a:cubicBezTo>
                <a:lnTo>
                  <a:pt x="0" y="1013418"/>
                </a:lnTo>
                <a:lnTo>
                  <a:pt x="0" y="847328"/>
                </a:lnTo>
                <a:cubicBezTo>
                  <a:pt x="2881" y="845666"/>
                  <a:pt x="5954" y="845498"/>
                  <a:pt x="9066" y="845498"/>
                </a:cubicBezTo>
                <a:close/>
                <a:moveTo>
                  <a:pt x="9066" y="0"/>
                </a:moveTo>
                <a:cubicBezTo>
                  <a:pt x="55942" y="0"/>
                  <a:pt x="93942" y="38000"/>
                  <a:pt x="93942" y="84875"/>
                </a:cubicBezTo>
                <a:cubicBezTo>
                  <a:pt x="93942" y="131750"/>
                  <a:pt x="55942" y="169750"/>
                  <a:pt x="9066" y="169750"/>
                </a:cubicBezTo>
                <a:lnTo>
                  <a:pt x="0" y="167920"/>
                </a:lnTo>
                <a:lnTo>
                  <a:pt x="0" y="1830"/>
                </a:lnTo>
                <a:cubicBezTo>
                  <a:pt x="2881" y="167"/>
                  <a:pt x="5954" y="0"/>
                  <a:pt x="90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9" name="Oval 1638"/>
          <p:cNvSpPr/>
          <p:nvPr/>
        </p:nvSpPr>
        <p:spPr>
          <a:xfrm>
            <a:off x="57504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0" name="Oval 1639"/>
          <p:cNvSpPr/>
          <p:nvPr/>
        </p:nvSpPr>
        <p:spPr>
          <a:xfrm>
            <a:off x="120695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1" name="Oval 1640"/>
          <p:cNvSpPr/>
          <p:nvPr/>
        </p:nvSpPr>
        <p:spPr>
          <a:xfrm>
            <a:off x="183885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2" name="Oval 1641"/>
          <p:cNvSpPr/>
          <p:nvPr/>
        </p:nvSpPr>
        <p:spPr>
          <a:xfrm>
            <a:off x="247076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3" name="Oval 1642"/>
          <p:cNvSpPr/>
          <p:nvPr/>
        </p:nvSpPr>
        <p:spPr>
          <a:xfrm>
            <a:off x="310266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4" name="Oval 1643"/>
          <p:cNvSpPr/>
          <p:nvPr/>
        </p:nvSpPr>
        <p:spPr>
          <a:xfrm>
            <a:off x="373457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5" name="Oval 1644"/>
          <p:cNvSpPr/>
          <p:nvPr/>
        </p:nvSpPr>
        <p:spPr>
          <a:xfrm>
            <a:off x="436647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6" name="Oval 1645"/>
          <p:cNvSpPr/>
          <p:nvPr/>
        </p:nvSpPr>
        <p:spPr>
          <a:xfrm>
            <a:off x="626219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7" name="Oval 1646"/>
          <p:cNvSpPr/>
          <p:nvPr/>
        </p:nvSpPr>
        <p:spPr>
          <a:xfrm>
            <a:off x="563028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8" name="Oval 1647"/>
          <p:cNvSpPr/>
          <p:nvPr/>
        </p:nvSpPr>
        <p:spPr>
          <a:xfrm>
            <a:off x="752600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9" name="Oval 1648"/>
          <p:cNvSpPr/>
          <p:nvPr/>
        </p:nvSpPr>
        <p:spPr>
          <a:xfrm>
            <a:off x="689409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0" name="Oval 1649"/>
          <p:cNvSpPr/>
          <p:nvPr/>
        </p:nvSpPr>
        <p:spPr>
          <a:xfrm>
            <a:off x="8789813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1" name="Oval 1650"/>
          <p:cNvSpPr/>
          <p:nvPr/>
        </p:nvSpPr>
        <p:spPr>
          <a:xfrm>
            <a:off x="815790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2" name="Teardrop 3"/>
          <p:cNvSpPr/>
          <p:nvPr/>
        </p:nvSpPr>
        <p:spPr>
          <a:xfrm rot="5400000" flipH="1" flipV="1">
            <a:off x="4515886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3" name="Teardrop 3"/>
          <p:cNvSpPr/>
          <p:nvPr/>
        </p:nvSpPr>
        <p:spPr>
          <a:xfrm rot="5400000" flipH="1" flipV="1">
            <a:off x="724457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4" name="Teardrop 3"/>
          <p:cNvSpPr/>
          <p:nvPr/>
        </p:nvSpPr>
        <p:spPr>
          <a:xfrm rot="5400000" flipH="1" flipV="1">
            <a:off x="135636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5" name="Teardrop 3"/>
          <p:cNvSpPr/>
          <p:nvPr/>
        </p:nvSpPr>
        <p:spPr>
          <a:xfrm rot="5400000" flipH="1" flipV="1">
            <a:off x="1988267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6" name="Teardrop 3"/>
          <p:cNvSpPr/>
          <p:nvPr/>
        </p:nvSpPr>
        <p:spPr>
          <a:xfrm rot="5400000" flipH="1" flipV="1">
            <a:off x="262017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7" name="Teardrop 3"/>
          <p:cNvSpPr/>
          <p:nvPr/>
        </p:nvSpPr>
        <p:spPr>
          <a:xfrm rot="5400000" flipH="1" flipV="1">
            <a:off x="3252077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8" name="Teardrop 3"/>
          <p:cNvSpPr/>
          <p:nvPr/>
        </p:nvSpPr>
        <p:spPr>
          <a:xfrm rot="5400000" flipH="1" flipV="1">
            <a:off x="388398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9" name="Teardrop 3"/>
          <p:cNvSpPr/>
          <p:nvPr/>
        </p:nvSpPr>
        <p:spPr>
          <a:xfrm rot="5400000" flipH="1" flipV="1">
            <a:off x="5779697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0" name="Teardrop 3"/>
          <p:cNvSpPr/>
          <p:nvPr/>
        </p:nvSpPr>
        <p:spPr>
          <a:xfrm rot="5400000" flipH="1" flipV="1">
            <a:off x="514779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1" name="Teardrop 3"/>
          <p:cNvSpPr/>
          <p:nvPr/>
        </p:nvSpPr>
        <p:spPr>
          <a:xfrm rot="5400000" flipH="1" flipV="1">
            <a:off x="7043507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2" name="Teardrop 3"/>
          <p:cNvSpPr/>
          <p:nvPr/>
        </p:nvSpPr>
        <p:spPr>
          <a:xfrm rot="5400000" flipH="1" flipV="1">
            <a:off x="641160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3" name="Teardrop 3"/>
          <p:cNvSpPr/>
          <p:nvPr/>
        </p:nvSpPr>
        <p:spPr>
          <a:xfrm rot="5400000" flipH="1" flipV="1">
            <a:off x="8307316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4" name="Teardrop 3"/>
          <p:cNvSpPr/>
          <p:nvPr/>
        </p:nvSpPr>
        <p:spPr>
          <a:xfrm rot="5400000" flipH="1" flipV="1">
            <a:off x="767541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5" name="Teardrop 3"/>
          <p:cNvSpPr/>
          <p:nvPr/>
        </p:nvSpPr>
        <p:spPr>
          <a:xfrm rot="5400000" flipH="1" flipV="1">
            <a:off x="9255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6" name="Teardrop 3"/>
          <p:cNvSpPr/>
          <p:nvPr/>
        </p:nvSpPr>
        <p:spPr>
          <a:xfrm rot="5400000" flipH="1" flipV="1">
            <a:off x="8820002" y="514184"/>
            <a:ext cx="446835" cy="201161"/>
          </a:xfrm>
          <a:custGeom>
            <a:avLst/>
            <a:gdLst/>
            <a:ahLst/>
            <a:cxnLst/>
            <a:rect l="l" t="t" r="r" b="b"/>
            <a:pathLst>
              <a:path w="595780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7" y="250112"/>
                  <a:pt x="155376" y="250112"/>
                </a:cubicBezTo>
                <a:cubicBezTo>
                  <a:pt x="174454" y="249746"/>
                  <a:pt x="198601" y="254980"/>
                  <a:pt x="211458" y="268141"/>
                </a:cubicBezTo>
                <a:cubicBezTo>
                  <a:pt x="215885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382868" y="82592"/>
                </a:moveTo>
                <a:cubicBezTo>
                  <a:pt x="379825" y="66091"/>
                  <a:pt x="371670" y="50477"/>
                  <a:pt x="358914" y="37722"/>
                </a:cubicBezTo>
                <a:cubicBezTo>
                  <a:pt x="342007" y="20815"/>
                  <a:pt x="320078" y="11989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3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6" y="100902"/>
                  <a:pt x="253233" y="130241"/>
                  <a:pt x="253233" y="163248"/>
                </a:cubicBezTo>
                <a:cubicBezTo>
                  <a:pt x="252735" y="189232"/>
                  <a:pt x="256525" y="205210"/>
                  <a:pt x="272877" y="215167"/>
                </a:cubicBezTo>
                <a:cubicBezTo>
                  <a:pt x="289126" y="210687"/>
                  <a:pt x="306340" y="210767"/>
                  <a:pt x="322577" y="215380"/>
                </a:cubicBezTo>
                <a:cubicBezTo>
                  <a:pt x="324655" y="214136"/>
                  <a:pt x="326534" y="212797"/>
                  <a:pt x="328229" y="211355"/>
                </a:cubicBezTo>
                <a:cubicBezTo>
                  <a:pt x="340097" y="201263"/>
                  <a:pt x="342986" y="186138"/>
                  <a:pt x="342547" y="163248"/>
                </a:cubicBezTo>
                <a:cubicBezTo>
                  <a:pt x="342547" y="130228"/>
                  <a:pt x="358265" y="100880"/>
                  <a:pt x="382868" y="82592"/>
                </a:cubicBezTo>
                <a:close/>
                <a:moveTo>
                  <a:pt x="506339" y="97830"/>
                </a:moveTo>
                <a:cubicBezTo>
                  <a:pt x="490327" y="82509"/>
                  <a:pt x="468581" y="73244"/>
                  <a:pt x="444670" y="73244"/>
                </a:cubicBezTo>
                <a:cubicBezTo>
                  <a:pt x="394651" y="73244"/>
                  <a:pt x="354103" y="113792"/>
                  <a:pt x="354103" y="163811"/>
                </a:cubicBezTo>
                <a:cubicBezTo>
                  <a:pt x="354469" y="182914"/>
                  <a:pt x="349220" y="207099"/>
                  <a:pt x="336023" y="219944"/>
                </a:cubicBezTo>
                <a:cubicBezTo>
                  <a:pt x="346519" y="224314"/>
                  <a:pt x="356263" y="230867"/>
                  <a:pt x="364783" y="239386"/>
                </a:cubicBezTo>
                <a:close/>
                <a:moveTo>
                  <a:pt x="530971" y="159544"/>
                </a:moveTo>
                <a:cubicBezTo>
                  <a:pt x="530971" y="135634"/>
                  <a:pt x="521705" y="113887"/>
                  <a:pt x="506384" y="97876"/>
                </a:cubicBezTo>
                <a:lnTo>
                  <a:pt x="364828" y="239431"/>
                </a:lnTo>
                <a:cubicBezTo>
                  <a:pt x="373348" y="247952"/>
                  <a:pt x="379901" y="257695"/>
                  <a:pt x="384270" y="268192"/>
                </a:cubicBezTo>
                <a:cubicBezTo>
                  <a:pt x="397115" y="254994"/>
                  <a:pt x="421300" y="249745"/>
                  <a:pt x="440404" y="250111"/>
                </a:cubicBezTo>
                <a:cubicBezTo>
                  <a:pt x="465413" y="250112"/>
                  <a:pt x="488055" y="239974"/>
                  <a:pt x="504444" y="223585"/>
                </a:cubicBezTo>
                <a:cubicBezTo>
                  <a:pt x="520834" y="207196"/>
                  <a:pt x="530971" y="184554"/>
                  <a:pt x="530971" y="159544"/>
                </a:cubicBezTo>
                <a:close/>
                <a:moveTo>
                  <a:pt x="595780" y="268215"/>
                </a:moveTo>
                <a:lnTo>
                  <a:pt x="581969" y="268215"/>
                </a:lnTo>
                <a:cubicBezTo>
                  <a:pt x="578743" y="259654"/>
                  <a:pt x="573266" y="252074"/>
                  <a:pt x="566492" y="245300"/>
                </a:cubicBezTo>
                <a:cubicBezTo>
                  <a:pt x="553737" y="232545"/>
                  <a:pt x="538123" y="224389"/>
                  <a:pt x="521623" y="221347"/>
                </a:cubicBezTo>
                <a:cubicBezTo>
                  <a:pt x="519174" y="225205"/>
                  <a:pt x="516174" y="228633"/>
                  <a:pt x="512960" y="231847"/>
                </a:cubicBezTo>
                <a:cubicBezTo>
                  <a:pt x="494535" y="250272"/>
                  <a:pt x="469082" y="261667"/>
                  <a:pt x="440967" y="261667"/>
                </a:cubicBezTo>
                <a:cubicBezTo>
                  <a:pt x="425629" y="261373"/>
                  <a:pt x="413777" y="262574"/>
                  <a:pt x="405186" y="268215"/>
                </a:cubicBezTo>
                <a:lnTo>
                  <a:pt x="372038" y="268215"/>
                </a:lnTo>
                <a:cubicBezTo>
                  <a:pt x="369178" y="260078"/>
                  <a:pt x="364042" y="252948"/>
                  <a:pt x="357679" y="246581"/>
                </a:cubicBezTo>
                <a:lnTo>
                  <a:pt x="349451" y="254808"/>
                </a:lnTo>
                <a:lnTo>
                  <a:pt x="349428" y="254786"/>
                </a:lnTo>
                <a:cubicBezTo>
                  <a:pt x="349421" y="254779"/>
                  <a:pt x="349413" y="254771"/>
                  <a:pt x="349406" y="254763"/>
                </a:cubicBezTo>
                <a:lnTo>
                  <a:pt x="357634" y="246536"/>
                </a:lnTo>
                <a:cubicBezTo>
                  <a:pt x="324632" y="213554"/>
                  <a:pt x="271148" y="213554"/>
                  <a:pt x="238147" y="246536"/>
                </a:cubicBezTo>
                <a:lnTo>
                  <a:pt x="246374" y="254763"/>
                </a:lnTo>
                <a:cubicBezTo>
                  <a:pt x="246367" y="254771"/>
                  <a:pt x="246359" y="254779"/>
                  <a:pt x="246352" y="254786"/>
                </a:cubicBezTo>
                <a:cubicBezTo>
                  <a:pt x="246344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69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8" y="221373"/>
                </a:cubicBezTo>
                <a:cubicBezTo>
                  <a:pt x="57671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89" y="195895"/>
                  <a:pt x="53000" y="178457"/>
                  <a:pt x="53000" y="159854"/>
                </a:cubicBezTo>
                <a:cubicBezTo>
                  <a:pt x="53000" y="132604"/>
                  <a:pt x="63705" y="107854"/>
                  <a:pt x="81286" y="89721"/>
                </a:cubicBezTo>
                <a:lnTo>
                  <a:pt x="81286" y="89721"/>
                </a:ln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30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lnTo>
                  <a:pt x="297890" y="0"/>
                </a:lnTo>
                <a:cubicBezTo>
                  <a:pt x="323144" y="391"/>
                  <a:pt x="348215" y="10322"/>
                  <a:pt x="367484" y="29591"/>
                </a:cubicBezTo>
                <a:cubicBezTo>
                  <a:pt x="380644" y="42751"/>
                  <a:pt x="389448" y="58618"/>
                  <a:pt x="393604" y="75474"/>
                </a:cubicBezTo>
                <a:cubicBezTo>
                  <a:pt x="408376" y="66408"/>
                  <a:pt x="425787" y="61434"/>
                  <a:pt x="444360" y="61434"/>
                </a:cubicBezTo>
                <a:cubicBezTo>
                  <a:pt x="471610" y="61434"/>
                  <a:pt x="496360" y="72140"/>
                  <a:pt x="514494" y="89721"/>
                </a:cubicBezTo>
                <a:cubicBezTo>
                  <a:pt x="532075" y="107854"/>
                  <a:pt x="542780" y="132604"/>
                  <a:pt x="542780" y="159854"/>
                </a:cubicBezTo>
                <a:cubicBezTo>
                  <a:pt x="542780" y="178427"/>
                  <a:pt x="537807" y="195839"/>
                  <a:pt x="528740" y="210610"/>
                </a:cubicBezTo>
                <a:cubicBezTo>
                  <a:pt x="545596" y="214766"/>
                  <a:pt x="561463" y="223570"/>
                  <a:pt x="574624" y="2367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7" name="Oval 1666"/>
          <p:cNvSpPr/>
          <p:nvPr/>
        </p:nvSpPr>
        <p:spPr>
          <a:xfrm>
            <a:off x="531499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8" name="Oval 1667"/>
          <p:cNvSpPr/>
          <p:nvPr/>
        </p:nvSpPr>
        <p:spPr>
          <a:xfrm>
            <a:off x="25975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9" name="Oval 1668"/>
          <p:cNvSpPr/>
          <p:nvPr/>
        </p:nvSpPr>
        <p:spPr>
          <a:xfrm>
            <a:off x="89165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0" name="Oval 1669"/>
          <p:cNvSpPr/>
          <p:nvPr/>
        </p:nvSpPr>
        <p:spPr>
          <a:xfrm>
            <a:off x="152356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1" name="Oval 1670"/>
          <p:cNvSpPr/>
          <p:nvPr/>
        </p:nvSpPr>
        <p:spPr>
          <a:xfrm>
            <a:off x="215546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2" name="Oval 1671"/>
          <p:cNvSpPr/>
          <p:nvPr/>
        </p:nvSpPr>
        <p:spPr>
          <a:xfrm>
            <a:off x="278737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3" name="Oval 1672"/>
          <p:cNvSpPr/>
          <p:nvPr/>
        </p:nvSpPr>
        <p:spPr>
          <a:xfrm>
            <a:off x="341927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4" name="Oval 1673"/>
          <p:cNvSpPr/>
          <p:nvPr/>
        </p:nvSpPr>
        <p:spPr>
          <a:xfrm>
            <a:off x="405118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5" name="Oval 1674"/>
          <p:cNvSpPr/>
          <p:nvPr/>
        </p:nvSpPr>
        <p:spPr>
          <a:xfrm>
            <a:off x="468308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6" name="Oval 1675"/>
          <p:cNvSpPr/>
          <p:nvPr/>
        </p:nvSpPr>
        <p:spPr>
          <a:xfrm>
            <a:off x="657880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7" name="Oval 1676"/>
          <p:cNvSpPr/>
          <p:nvPr/>
        </p:nvSpPr>
        <p:spPr>
          <a:xfrm>
            <a:off x="594689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8" name="Oval 1677"/>
          <p:cNvSpPr/>
          <p:nvPr/>
        </p:nvSpPr>
        <p:spPr>
          <a:xfrm>
            <a:off x="784261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9" name="Oval 1678"/>
          <p:cNvSpPr/>
          <p:nvPr/>
        </p:nvSpPr>
        <p:spPr>
          <a:xfrm>
            <a:off x="721070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0" name="Oval 860"/>
          <p:cNvSpPr/>
          <p:nvPr/>
        </p:nvSpPr>
        <p:spPr>
          <a:xfrm>
            <a:off x="9106419" y="569139"/>
            <a:ext cx="37582" cy="2653825"/>
          </a:xfrm>
          <a:custGeom>
            <a:avLst/>
            <a:gdLst/>
            <a:ahLst/>
            <a:cxnLst/>
            <a:rect l="l" t="t" r="r" b="b"/>
            <a:pathLst>
              <a:path w="50109" h="3538433">
                <a:moveTo>
                  <a:pt x="50109" y="3384355"/>
                </a:moveTo>
                <a:lnTo>
                  <a:pt x="50109" y="3538433"/>
                </a:lnTo>
                <a:cubicBezTo>
                  <a:pt x="20497" y="3525461"/>
                  <a:pt x="0" y="3495821"/>
                  <a:pt x="0" y="3461394"/>
                </a:cubicBezTo>
                <a:cubicBezTo>
                  <a:pt x="0" y="3426967"/>
                  <a:pt x="20497" y="3397327"/>
                  <a:pt x="50109" y="3384355"/>
                </a:cubicBezTo>
                <a:close/>
                <a:moveTo>
                  <a:pt x="50109" y="2538350"/>
                </a:moveTo>
                <a:lnTo>
                  <a:pt x="50109" y="2692428"/>
                </a:lnTo>
                <a:cubicBezTo>
                  <a:pt x="20497" y="2679456"/>
                  <a:pt x="0" y="2649816"/>
                  <a:pt x="0" y="2615389"/>
                </a:cubicBezTo>
                <a:cubicBezTo>
                  <a:pt x="0" y="2580962"/>
                  <a:pt x="20497" y="2551322"/>
                  <a:pt x="50109" y="2538350"/>
                </a:cubicBezTo>
                <a:close/>
                <a:moveTo>
                  <a:pt x="50109" y="1688095"/>
                </a:moveTo>
                <a:lnTo>
                  <a:pt x="50109" y="1842173"/>
                </a:lnTo>
                <a:cubicBezTo>
                  <a:pt x="20497" y="1829201"/>
                  <a:pt x="0" y="1799561"/>
                  <a:pt x="0" y="1765134"/>
                </a:cubicBezTo>
                <a:cubicBezTo>
                  <a:pt x="0" y="1730707"/>
                  <a:pt x="20497" y="1701067"/>
                  <a:pt x="50109" y="1688095"/>
                </a:cubicBezTo>
                <a:close/>
                <a:moveTo>
                  <a:pt x="50109" y="845498"/>
                </a:moveTo>
                <a:lnTo>
                  <a:pt x="50109" y="999576"/>
                </a:lnTo>
                <a:cubicBezTo>
                  <a:pt x="20497" y="986604"/>
                  <a:pt x="0" y="956964"/>
                  <a:pt x="0" y="922537"/>
                </a:cubicBezTo>
                <a:cubicBezTo>
                  <a:pt x="0" y="888110"/>
                  <a:pt x="20497" y="858470"/>
                  <a:pt x="50109" y="845498"/>
                </a:cubicBezTo>
                <a:close/>
                <a:moveTo>
                  <a:pt x="50109" y="0"/>
                </a:moveTo>
                <a:lnTo>
                  <a:pt x="50109" y="154078"/>
                </a:lnTo>
                <a:cubicBezTo>
                  <a:pt x="20497" y="141106"/>
                  <a:pt x="0" y="111466"/>
                  <a:pt x="0" y="77039"/>
                </a:cubicBezTo>
                <a:cubicBezTo>
                  <a:pt x="0" y="42612"/>
                  <a:pt x="20497" y="12972"/>
                  <a:pt x="501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1" name="Oval 1680"/>
          <p:cNvSpPr/>
          <p:nvPr/>
        </p:nvSpPr>
        <p:spPr>
          <a:xfrm>
            <a:off x="847451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2" name="Teardrop 3"/>
          <p:cNvSpPr/>
          <p:nvPr/>
        </p:nvSpPr>
        <p:spPr>
          <a:xfrm rot="5400000" flipH="1" flipV="1">
            <a:off x="4630509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2"/>
                </a:moveTo>
                <a:cubicBezTo>
                  <a:pt x="210766" y="314775"/>
                  <a:pt x="210686" y="297561"/>
                  <a:pt x="215167" y="281312"/>
                </a:cubicBezTo>
                <a:cubicBezTo>
                  <a:pt x="205209" y="264960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2"/>
                </a:cubicBezTo>
                <a:cubicBezTo>
                  <a:pt x="100880" y="366700"/>
                  <a:pt x="130228" y="350982"/>
                  <a:pt x="163247" y="350982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9"/>
                  <a:pt x="214135" y="333090"/>
                  <a:pt x="215380" y="331012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9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2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3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8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4"/>
                  <a:pt x="224382" y="66106"/>
                  <a:pt x="221373" y="82614"/>
                </a:cubicBezTo>
                <a:cubicBezTo>
                  <a:pt x="245960" y="100903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8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7"/>
                </a:cubicBezTo>
                <a:cubicBezTo>
                  <a:pt x="254778" y="254794"/>
                  <a:pt x="254771" y="254802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4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2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1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1"/>
                  <a:pt x="210610" y="537175"/>
                </a:cubicBezTo>
                <a:cubicBezTo>
                  <a:pt x="195839" y="546241"/>
                  <a:pt x="178427" y="551215"/>
                  <a:pt x="159854" y="551215"/>
                </a:cubicBezTo>
                <a:cubicBezTo>
                  <a:pt x="132604" y="551215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2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6"/>
                  <a:pt x="61434" y="178458"/>
                  <a:pt x="61434" y="159855"/>
                </a:cubicBezTo>
                <a:cubicBezTo>
                  <a:pt x="61434" y="132604"/>
                  <a:pt x="72139" y="107855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3" name="Teardrop 3"/>
          <p:cNvSpPr/>
          <p:nvPr/>
        </p:nvSpPr>
        <p:spPr>
          <a:xfrm rot="5400000" flipH="1" flipV="1">
            <a:off x="839080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2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2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4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4"/>
                  <a:pt x="306324" y="612648"/>
                </a:cubicBezTo>
                <a:lnTo>
                  <a:pt x="306324" y="612648"/>
                </a:ln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4" name="Teardrop 3"/>
          <p:cNvSpPr/>
          <p:nvPr/>
        </p:nvSpPr>
        <p:spPr>
          <a:xfrm rot="5400000" flipH="1" flipV="1">
            <a:off x="147098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1"/>
                </a:cubicBezTo>
                <a:cubicBezTo>
                  <a:pt x="100880" y="366700"/>
                  <a:pt x="130228" y="350981"/>
                  <a:pt x="163247" y="350981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4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90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4"/>
                  <a:pt x="306324" y="612648"/>
                </a:cubicBezTo>
                <a:lnTo>
                  <a:pt x="306324" y="612648"/>
                </a:ln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5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5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5" name="Teardrop 3"/>
          <p:cNvSpPr/>
          <p:nvPr/>
        </p:nvSpPr>
        <p:spPr>
          <a:xfrm rot="5400000" flipH="1" flipV="1">
            <a:off x="2102890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1"/>
                </a:cubicBezTo>
                <a:cubicBezTo>
                  <a:pt x="100880" y="366700"/>
                  <a:pt x="130228" y="350981"/>
                  <a:pt x="163247" y="350981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4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4"/>
                  <a:pt x="306324" y="612648"/>
                </a:cubicBezTo>
                <a:lnTo>
                  <a:pt x="306324" y="612648"/>
                </a:ln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5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8"/>
                  <a:pt x="61434" y="159855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6" name="Teardrop 3"/>
          <p:cNvSpPr/>
          <p:nvPr/>
        </p:nvSpPr>
        <p:spPr>
          <a:xfrm rot="5400000" flipH="1" flipV="1">
            <a:off x="273479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1"/>
                </a:cubicBezTo>
                <a:cubicBezTo>
                  <a:pt x="100880" y="366700"/>
                  <a:pt x="130228" y="350981"/>
                  <a:pt x="163247" y="350981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4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4"/>
                  <a:pt x="306324" y="612648"/>
                </a:cubicBezTo>
                <a:lnTo>
                  <a:pt x="306324" y="612648"/>
                </a:ln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5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8"/>
                  <a:pt x="61434" y="159855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7" name="Teardrop 3"/>
          <p:cNvSpPr/>
          <p:nvPr/>
        </p:nvSpPr>
        <p:spPr>
          <a:xfrm rot="5400000" flipH="1" flipV="1">
            <a:off x="3366700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2"/>
                </a:moveTo>
                <a:cubicBezTo>
                  <a:pt x="210766" y="314775"/>
                  <a:pt x="210686" y="297561"/>
                  <a:pt x="215167" y="281312"/>
                </a:cubicBezTo>
                <a:cubicBezTo>
                  <a:pt x="205209" y="264960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2"/>
                </a:cubicBezTo>
                <a:cubicBezTo>
                  <a:pt x="100880" y="366700"/>
                  <a:pt x="130228" y="350982"/>
                  <a:pt x="163247" y="350982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9"/>
                  <a:pt x="214135" y="333090"/>
                  <a:pt x="215380" y="331012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9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2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3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8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4"/>
                  <a:pt x="224382" y="66106"/>
                  <a:pt x="221373" y="82614"/>
                </a:cubicBezTo>
                <a:cubicBezTo>
                  <a:pt x="245960" y="100903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8"/>
                </a:cubicBezTo>
                <a:lnTo>
                  <a:pt x="306986" y="215278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7"/>
                </a:cubicBezTo>
                <a:cubicBezTo>
                  <a:pt x="254778" y="254794"/>
                  <a:pt x="254771" y="254802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4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2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1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1"/>
                  <a:pt x="210610" y="537175"/>
                </a:cubicBezTo>
                <a:cubicBezTo>
                  <a:pt x="195839" y="546241"/>
                  <a:pt x="178427" y="551215"/>
                  <a:pt x="159854" y="551215"/>
                </a:cubicBezTo>
                <a:cubicBezTo>
                  <a:pt x="132604" y="551215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2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6"/>
                  <a:pt x="61434" y="178458"/>
                  <a:pt x="61434" y="159855"/>
                </a:cubicBezTo>
                <a:cubicBezTo>
                  <a:pt x="61434" y="132604"/>
                  <a:pt x="72139" y="107855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8" name="Teardrop 3"/>
          <p:cNvSpPr/>
          <p:nvPr/>
        </p:nvSpPr>
        <p:spPr>
          <a:xfrm rot="5400000" flipH="1" flipV="1">
            <a:off x="399860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2"/>
                </a:moveTo>
                <a:cubicBezTo>
                  <a:pt x="210766" y="314775"/>
                  <a:pt x="210686" y="297561"/>
                  <a:pt x="215167" y="281312"/>
                </a:cubicBezTo>
                <a:cubicBezTo>
                  <a:pt x="205209" y="264960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2"/>
                </a:cubicBezTo>
                <a:cubicBezTo>
                  <a:pt x="100880" y="366700"/>
                  <a:pt x="130228" y="350982"/>
                  <a:pt x="163247" y="350982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9"/>
                  <a:pt x="214135" y="333090"/>
                  <a:pt x="215380" y="331012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9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2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3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8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4"/>
                  <a:pt x="224382" y="66106"/>
                  <a:pt x="221373" y="82614"/>
                </a:cubicBezTo>
                <a:cubicBezTo>
                  <a:pt x="245960" y="100903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8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7"/>
                </a:cubicBezTo>
                <a:cubicBezTo>
                  <a:pt x="254778" y="254794"/>
                  <a:pt x="254771" y="254802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4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2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1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1"/>
                  <a:pt x="210610" y="537175"/>
                </a:cubicBezTo>
                <a:cubicBezTo>
                  <a:pt x="195839" y="546241"/>
                  <a:pt x="178427" y="551215"/>
                  <a:pt x="159854" y="551215"/>
                </a:cubicBezTo>
                <a:cubicBezTo>
                  <a:pt x="132604" y="551215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2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6"/>
                  <a:pt x="61434" y="178458"/>
                  <a:pt x="61434" y="159855"/>
                </a:cubicBezTo>
                <a:cubicBezTo>
                  <a:pt x="61434" y="132604"/>
                  <a:pt x="72139" y="107855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9" name="Teardrop 3"/>
          <p:cNvSpPr/>
          <p:nvPr/>
        </p:nvSpPr>
        <p:spPr>
          <a:xfrm rot="5400000" flipH="1" flipV="1">
            <a:off x="5894320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2"/>
                </a:moveTo>
                <a:cubicBezTo>
                  <a:pt x="210766" y="314775"/>
                  <a:pt x="210686" y="297561"/>
                  <a:pt x="215167" y="281312"/>
                </a:cubicBezTo>
                <a:cubicBezTo>
                  <a:pt x="205209" y="264960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2"/>
                </a:cubicBezTo>
                <a:cubicBezTo>
                  <a:pt x="100880" y="366700"/>
                  <a:pt x="130228" y="350982"/>
                  <a:pt x="163247" y="350982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9"/>
                  <a:pt x="214135" y="333090"/>
                  <a:pt x="215380" y="331012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9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2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3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8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4"/>
                  <a:pt x="224382" y="66106"/>
                  <a:pt x="221373" y="82614"/>
                </a:cubicBezTo>
                <a:cubicBezTo>
                  <a:pt x="245960" y="100903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8"/>
                </a:cubicBezTo>
                <a:lnTo>
                  <a:pt x="306986" y="215278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7"/>
                </a:cubicBezTo>
                <a:cubicBezTo>
                  <a:pt x="254778" y="254794"/>
                  <a:pt x="254771" y="254802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4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2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1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1"/>
                  <a:pt x="210610" y="537175"/>
                </a:cubicBezTo>
                <a:cubicBezTo>
                  <a:pt x="195839" y="546241"/>
                  <a:pt x="178427" y="551215"/>
                  <a:pt x="159854" y="551215"/>
                </a:cubicBezTo>
                <a:cubicBezTo>
                  <a:pt x="132604" y="551215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2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6"/>
                  <a:pt x="61434" y="178458"/>
                  <a:pt x="61434" y="159855"/>
                </a:cubicBezTo>
                <a:cubicBezTo>
                  <a:pt x="61434" y="132604"/>
                  <a:pt x="72139" y="107855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0" name="Teardrop 3"/>
          <p:cNvSpPr/>
          <p:nvPr/>
        </p:nvSpPr>
        <p:spPr>
          <a:xfrm rot="5400000" flipH="1" flipV="1">
            <a:off x="526241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2"/>
                </a:moveTo>
                <a:cubicBezTo>
                  <a:pt x="210766" y="314775"/>
                  <a:pt x="210686" y="297561"/>
                  <a:pt x="215167" y="281312"/>
                </a:cubicBezTo>
                <a:cubicBezTo>
                  <a:pt x="205209" y="264960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2"/>
                </a:cubicBezTo>
                <a:cubicBezTo>
                  <a:pt x="100880" y="366700"/>
                  <a:pt x="130228" y="350982"/>
                  <a:pt x="163247" y="350982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9"/>
                  <a:pt x="214135" y="333090"/>
                  <a:pt x="215380" y="331012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9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2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3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8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4"/>
                  <a:pt x="224382" y="66106"/>
                  <a:pt x="221373" y="82614"/>
                </a:cubicBezTo>
                <a:cubicBezTo>
                  <a:pt x="245960" y="100903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8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7"/>
                </a:cubicBezTo>
                <a:cubicBezTo>
                  <a:pt x="254778" y="254794"/>
                  <a:pt x="254771" y="254802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4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2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1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1"/>
                  <a:pt x="210610" y="537175"/>
                </a:cubicBezTo>
                <a:cubicBezTo>
                  <a:pt x="195839" y="546241"/>
                  <a:pt x="178427" y="551215"/>
                  <a:pt x="159854" y="551215"/>
                </a:cubicBezTo>
                <a:cubicBezTo>
                  <a:pt x="132604" y="551215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2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6"/>
                  <a:pt x="61434" y="178458"/>
                  <a:pt x="61434" y="159855"/>
                </a:cubicBezTo>
                <a:cubicBezTo>
                  <a:pt x="61434" y="132604"/>
                  <a:pt x="72139" y="107855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1" name="Teardrop 3"/>
          <p:cNvSpPr/>
          <p:nvPr/>
        </p:nvSpPr>
        <p:spPr>
          <a:xfrm rot="5400000" flipH="1" flipV="1">
            <a:off x="7158130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2"/>
                  <a:pt x="50483" y="232539"/>
                  <a:pt x="37722" y="245300"/>
                </a:cubicBezTo>
                <a:cubicBezTo>
                  <a:pt x="20815" y="262207"/>
                  <a:pt x="11990" y="284136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3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0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7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6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2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2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8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3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8"/>
                </a:lnTo>
                <a:cubicBezTo>
                  <a:pt x="285145" y="221632"/>
                  <a:pt x="263250" y="229876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7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90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7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2" name="Teardrop 3"/>
          <p:cNvSpPr/>
          <p:nvPr/>
        </p:nvSpPr>
        <p:spPr>
          <a:xfrm rot="5400000" flipH="1" flipV="1">
            <a:off x="652622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2"/>
                  <a:pt x="50483" y="232539"/>
                  <a:pt x="37722" y="245300"/>
                </a:cubicBezTo>
                <a:cubicBezTo>
                  <a:pt x="20815" y="262207"/>
                  <a:pt x="11990" y="284136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3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0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7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6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2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2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8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3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8"/>
                </a:lnTo>
                <a:cubicBezTo>
                  <a:pt x="285145" y="221632"/>
                  <a:pt x="263250" y="229876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7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7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3" name="Teardrop 3"/>
          <p:cNvSpPr/>
          <p:nvPr/>
        </p:nvSpPr>
        <p:spPr>
          <a:xfrm rot="5400000" flipH="1" flipV="1">
            <a:off x="8421939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2"/>
                  <a:pt x="50483" y="232539"/>
                  <a:pt x="37722" y="245300"/>
                </a:cubicBezTo>
                <a:cubicBezTo>
                  <a:pt x="20815" y="262207"/>
                  <a:pt x="11990" y="284136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3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0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7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6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2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2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8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3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8"/>
                </a:lnTo>
                <a:cubicBezTo>
                  <a:pt x="285145" y="221632"/>
                  <a:pt x="263250" y="229876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7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7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4" name="Teardrop 3"/>
          <p:cNvSpPr/>
          <p:nvPr/>
        </p:nvSpPr>
        <p:spPr>
          <a:xfrm rot="5400000" flipH="1" flipV="1">
            <a:off x="779003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2"/>
                  <a:pt x="50483" y="232539"/>
                  <a:pt x="37722" y="245300"/>
                </a:cubicBezTo>
                <a:cubicBezTo>
                  <a:pt x="20815" y="262207"/>
                  <a:pt x="11990" y="284136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3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0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7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6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2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2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8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3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8"/>
                </a:lnTo>
                <a:cubicBezTo>
                  <a:pt x="285145" y="221632"/>
                  <a:pt x="263250" y="229876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7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7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5" name="Teardrop 3"/>
          <p:cNvSpPr/>
          <p:nvPr/>
        </p:nvSpPr>
        <p:spPr>
          <a:xfrm rot="5400000" flipH="1" flipV="1">
            <a:off x="20717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2"/>
                  <a:pt x="50483" y="232539"/>
                  <a:pt x="37722" y="245300"/>
                </a:cubicBezTo>
                <a:cubicBezTo>
                  <a:pt x="20815" y="262208"/>
                  <a:pt x="11990" y="284136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3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0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7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6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8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4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7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2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4"/>
                  <a:pt x="306324" y="612648"/>
                </a:cubicBezTo>
                <a:lnTo>
                  <a:pt x="306324" y="612648"/>
                </a:ln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7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6" name="Teardrop 3"/>
          <p:cNvSpPr/>
          <p:nvPr/>
        </p:nvSpPr>
        <p:spPr>
          <a:xfrm rot="5400000" flipH="1" flipV="1">
            <a:off x="8931463" y="3693"/>
            <a:ext cx="223914" cy="201161"/>
          </a:xfrm>
          <a:custGeom>
            <a:avLst/>
            <a:gdLst/>
            <a:ahLst/>
            <a:cxnLst/>
            <a:rect l="l" t="t" r="r" b="b"/>
            <a:pathLst>
              <a:path w="298552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7" y="250112"/>
                  <a:pt x="155376" y="250112"/>
                </a:cubicBezTo>
                <a:cubicBezTo>
                  <a:pt x="174454" y="249746"/>
                  <a:pt x="198601" y="254980"/>
                  <a:pt x="211458" y="268141"/>
                </a:cubicBezTo>
                <a:cubicBezTo>
                  <a:pt x="215885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298552" y="138"/>
                </a:moveTo>
                <a:lnTo>
                  <a:pt x="298552" y="11636"/>
                </a:lnTo>
                <a:cubicBezTo>
                  <a:pt x="298344" y="11511"/>
                  <a:pt x="298133" y="11506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3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6" y="100902"/>
                  <a:pt x="253233" y="130241"/>
                  <a:pt x="253233" y="163248"/>
                </a:cubicBezTo>
                <a:cubicBezTo>
                  <a:pt x="252734" y="189232"/>
                  <a:pt x="256525" y="205210"/>
                  <a:pt x="272877" y="215167"/>
                </a:cubicBezTo>
                <a:lnTo>
                  <a:pt x="298552" y="215277"/>
                </a:lnTo>
                <a:lnTo>
                  <a:pt x="298552" y="221928"/>
                </a:lnTo>
                <a:cubicBezTo>
                  <a:pt x="276711" y="221632"/>
                  <a:pt x="254816" y="229876"/>
                  <a:pt x="238146" y="246536"/>
                </a:cubicBezTo>
                <a:lnTo>
                  <a:pt x="246374" y="254763"/>
                </a:lnTo>
                <a:cubicBezTo>
                  <a:pt x="246367" y="254771"/>
                  <a:pt x="246359" y="254779"/>
                  <a:pt x="246352" y="254786"/>
                </a:cubicBezTo>
                <a:cubicBezTo>
                  <a:pt x="246344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69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8" y="221373"/>
                </a:cubicBezTo>
                <a:cubicBezTo>
                  <a:pt x="57670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89" y="195895"/>
                  <a:pt x="53000" y="178457"/>
                  <a:pt x="53000" y="159854"/>
                </a:cubicBezTo>
                <a:cubicBezTo>
                  <a:pt x="53000" y="132604"/>
                  <a:pt x="63705" y="107854"/>
                  <a:pt x="81286" y="89721"/>
                </a:cubicBez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29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7" name="Oval 881"/>
          <p:cNvSpPr/>
          <p:nvPr/>
        </p:nvSpPr>
        <p:spPr>
          <a:xfrm>
            <a:off x="259749" y="-7683"/>
            <a:ext cx="127314" cy="63656"/>
          </a:xfrm>
          <a:custGeom>
            <a:avLst/>
            <a:gdLst/>
            <a:ahLst/>
            <a:cxnLst/>
            <a:rect l="l" t="t" r="r" b="b"/>
            <a:pathLst>
              <a:path w="169752" h="84875">
                <a:moveTo>
                  <a:pt x="0" y="0"/>
                </a:moveTo>
                <a:lnTo>
                  <a:pt x="169752" y="0"/>
                </a:lnTo>
                <a:cubicBezTo>
                  <a:pt x="169752" y="46875"/>
                  <a:pt x="131752" y="84875"/>
                  <a:pt x="84876" y="84875"/>
                </a:cubicBezTo>
                <a:cubicBezTo>
                  <a:pt x="38000" y="84875"/>
                  <a:pt x="0" y="46875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8" name="Oval 882"/>
          <p:cNvSpPr/>
          <p:nvPr/>
        </p:nvSpPr>
        <p:spPr>
          <a:xfrm>
            <a:off x="891654" y="-7683"/>
            <a:ext cx="127314" cy="63656"/>
          </a:xfrm>
          <a:custGeom>
            <a:avLst/>
            <a:gdLst/>
            <a:ahLst/>
            <a:cxnLst/>
            <a:rect l="l" t="t" r="r" b="b"/>
            <a:pathLst>
              <a:path w="169752" h="84875">
                <a:moveTo>
                  <a:pt x="0" y="0"/>
                </a:moveTo>
                <a:lnTo>
                  <a:pt x="169752" y="0"/>
                </a:lnTo>
                <a:cubicBezTo>
                  <a:pt x="169752" y="46875"/>
                  <a:pt x="131752" y="84875"/>
                  <a:pt x="84876" y="84875"/>
                </a:cubicBezTo>
                <a:cubicBezTo>
                  <a:pt x="38000" y="84875"/>
                  <a:pt x="0" y="46875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9" name="Oval 883"/>
          <p:cNvSpPr/>
          <p:nvPr/>
        </p:nvSpPr>
        <p:spPr>
          <a:xfrm>
            <a:off x="1523560" y="-7683"/>
            <a:ext cx="7620440" cy="63656"/>
          </a:xfrm>
          <a:custGeom>
            <a:avLst/>
            <a:gdLst/>
            <a:ahLst/>
            <a:cxnLst/>
            <a:rect l="l" t="t" r="r" b="b"/>
            <a:pathLst>
              <a:path w="10160587" h="84875">
                <a:moveTo>
                  <a:pt x="10110479" y="0"/>
                </a:moveTo>
                <a:lnTo>
                  <a:pt x="10160587" y="0"/>
                </a:lnTo>
                <a:lnTo>
                  <a:pt x="10160587" y="77038"/>
                </a:lnTo>
                <a:cubicBezTo>
                  <a:pt x="10130976" y="64066"/>
                  <a:pt x="10110479" y="34427"/>
                  <a:pt x="10110479" y="0"/>
                </a:cubicBezTo>
                <a:close/>
                <a:moveTo>
                  <a:pt x="9267940" y="0"/>
                </a:moveTo>
                <a:lnTo>
                  <a:pt x="9437692" y="0"/>
                </a:lnTo>
                <a:cubicBezTo>
                  <a:pt x="9437692" y="46875"/>
                  <a:pt x="9399692" y="84875"/>
                  <a:pt x="9352816" y="84875"/>
                </a:cubicBezTo>
                <a:cubicBezTo>
                  <a:pt x="9305940" y="84875"/>
                  <a:pt x="9267940" y="46875"/>
                  <a:pt x="9267940" y="0"/>
                </a:cubicBezTo>
                <a:close/>
                <a:moveTo>
                  <a:pt x="8425400" y="0"/>
                </a:moveTo>
                <a:lnTo>
                  <a:pt x="8595152" y="0"/>
                </a:lnTo>
                <a:cubicBezTo>
                  <a:pt x="8595152" y="46875"/>
                  <a:pt x="8557152" y="84875"/>
                  <a:pt x="8510276" y="84875"/>
                </a:cubicBezTo>
                <a:cubicBezTo>
                  <a:pt x="8463400" y="84875"/>
                  <a:pt x="8425400" y="46875"/>
                  <a:pt x="8425400" y="0"/>
                </a:cubicBezTo>
                <a:close/>
                <a:moveTo>
                  <a:pt x="7582860" y="0"/>
                </a:moveTo>
                <a:lnTo>
                  <a:pt x="7752612" y="0"/>
                </a:lnTo>
                <a:cubicBezTo>
                  <a:pt x="7752612" y="46875"/>
                  <a:pt x="7714612" y="84875"/>
                  <a:pt x="7667736" y="84875"/>
                </a:cubicBezTo>
                <a:cubicBezTo>
                  <a:pt x="7620860" y="84875"/>
                  <a:pt x="7582860" y="46875"/>
                  <a:pt x="7582860" y="0"/>
                </a:cubicBezTo>
                <a:close/>
                <a:moveTo>
                  <a:pt x="6740320" y="0"/>
                </a:moveTo>
                <a:lnTo>
                  <a:pt x="6910072" y="0"/>
                </a:lnTo>
                <a:cubicBezTo>
                  <a:pt x="6910072" y="46875"/>
                  <a:pt x="6872072" y="84875"/>
                  <a:pt x="6825196" y="84875"/>
                </a:cubicBezTo>
                <a:cubicBezTo>
                  <a:pt x="6778320" y="84875"/>
                  <a:pt x="6740320" y="46875"/>
                  <a:pt x="6740320" y="0"/>
                </a:cubicBezTo>
                <a:close/>
                <a:moveTo>
                  <a:pt x="5897780" y="0"/>
                </a:moveTo>
                <a:lnTo>
                  <a:pt x="6067532" y="0"/>
                </a:lnTo>
                <a:cubicBezTo>
                  <a:pt x="6067532" y="46875"/>
                  <a:pt x="6029532" y="84875"/>
                  <a:pt x="5982656" y="84875"/>
                </a:cubicBezTo>
                <a:cubicBezTo>
                  <a:pt x="5935780" y="84875"/>
                  <a:pt x="5897780" y="46875"/>
                  <a:pt x="5897780" y="0"/>
                </a:cubicBezTo>
                <a:close/>
                <a:moveTo>
                  <a:pt x="5055240" y="0"/>
                </a:moveTo>
                <a:lnTo>
                  <a:pt x="5224992" y="0"/>
                </a:lnTo>
                <a:cubicBezTo>
                  <a:pt x="5224992" y="46875"/>
                  <a:pt x="5186992" y="84875"/>
                  <a:pt x="5140116" y="84875"/>
                </a:cubicBezTo>
                <a:cubicBezTo>
                  <a:pt x="5093240" y="84875"/>
                  <a:pt x="5055240" y="46875"/>
                  <a:pt x="5055240" y="0"/>
                </a:cubicBezTo>
                <a:close/>
                <a:moveTo>
                  <a:pt x="4212700" y="0"/>
                </a:moveTo>
                <a:lnTo>
                  <a:pt x="4382452" y="0"/>
                </a:lnTo>
                <a:cubicBezTo>
                  <a:pt x="4382452" y="46875"/>
                  <a:pt x="4344452" y="84875"/>
                  <a:pt x="4297576" y="84875"/>
                </a:cubicBezTo>
                <a:cubicBezTo>
                  <a:pt x="4250700" y="84875"/>
                  <a:pt x="4212700" y="46875"/>
                  <a:pt x="4212700" y="0"/>
                </a:cubicBezTo>
                <a:close/>
                <a:moveTo>
                  <a:pt x="3370160" y="0"/>
                </a:moveTo>
                <a:lnTo>
                  <a:pt x="3539912" y="0"/>
                </a:lnTo>
                <a:cubicBezTo>
                  <a:pt x="3539912" y="46875"/>
                  <a:pt x="3501912" y="84875"/>
                  <a:pt x="3455036" y="84875"/>
                </a:cubicBezTo>
                <a:cubicBezTo>
                  <a:pt x="3408160" y="84875"/>
                  <a:pt x="3370160" y="46875"/>
                  <a:pt x="3370160" y="0"/>
                </a:cubicBezTo>
                <a:close/>
                <a:moveTo>
                  <a:pt x="2527620" y="0"/>
                </a:moveTo>
                <a:lnTo>
                  <a:pt x="2697372" y="0"/>
                </a:lnTo>
                <a:cubicBezTo>
                  <a:pt x="2697372" y="46875"/>
                  <a:pt x="2659372" y="84875"/>
                  <a:pt x="2612496" y="84875"/>
                </a:cubicBezTo>
                <a:cubicBezTo>
                  <a:pt x="2565620" y="84875"/>
                  <a:pt x="2527620" y="46875"/>
                  <a:pt x="2527620" y="0"/>
                </a:cubicBezTo>
                <a:close/>
                <a:moveTo>
                  <a:pt x="1685080" y="0"/>
                </a:moveTo>
                <a:lnTo>
                  <a:pt x="1854832" y="0"/>
                </a:lnTo>
                <a:cubicBezTo>
                  <a:pt x="1854832" y="46875"/>
                  <a:pt x="1816832" y="84875"/>
                  <a:pt x="1769956" y="84875"/>
                </a:cubicBezTo>
                <a:cubicBezTo>
                  <a:pt x="1723080" y="84875"/>
                  <a:pt x="1685080" y="46875"/>
                  <a:pt x="1685080" y="0"/>
                </a:cubicBezTo>
                <a:close/>
                <a:moveTo>
                  <a:pt x="842540" y="0"/>
                </a:moveTo>
                <a:lnTo>
                  <a:pt x="1012292" y="0"/>
                </a:lnTo>
                <a:cubicBezTo>
                  <a:pt x="1012292" y="46875"/>
                  <a:pt x="974292" y="84875"/>
                  <a:pt x="927416" y="84875"/>
                </a:cubicBezTo>
                <a:cubicBezTo>
                  <a:pt x="880540" y="84875"/>
                  <a:pt x="842540" y="46875"/>
                  <a:pt x="842540" y="0"/>
                </a:cubicBezTo>
                <a:close/>
                <a:moveTo>
                  <a:pt x="0" y="0"/>
                </a:moveTo>
                <a:lnTo>
                  <a:pt x="169752" y="0"/>
                </a:lnTo>
                <a:cubicBezTo>
                  <a:pt x="169752" y="46875"/>
                  <a:pt x="131752" y="84875"/>
                  <a:pt x="84876" y="84875"/>
                </a:cubicBezTo>
                <a:cubicBezTo>
                  <a:pt x="38000" y="84875"/>
                  <a:pt x="0" y="46875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0" name="Teardrop 3"/>
          <p:cNvSpPr/>
          <p:nvPr/>
        </p:nvSpPr>
        <p:spPr>
          <a:xfrm rot="5400000" flipH="1" flipV="1">
            <a:off x="483207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1" name="Oval 1700"/>
          <p:cNvSpPr/>
          <p:nvPr/>
        </p:nvSpPr>
        <p:spPr>
          <a:xfrm>
            <a:off x="534037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02" name="Teardrop 3"/>
          <p:cNvSpPr/>
          <p:nvPr/>
        </p:nvSpPr>
        <p:spPr>
          <a:xfrm rot="5400000" flipH="1" flipV="1">
            <a:off x="-111581" y="827860"/>
            <a:ext cx="459486" cy="236325"/>
          </a:xfrm>
          <a:custGeom>
            <a:avLst/>
            <a:gdLst/>
            <a:ahLst/>
            <a:cxnLst/>
            <a:rect l="l" t="t" r="r" b="b"/>
            <a:pathLst>
              <a:path w="612648" h="315100">
                <a:moveTo>
                  <a:pt x="239386" y="75670"/>
                </a:moveTo>
                <a:cubicBezTo>
                  <a:pt x="230866" y="67149"/>
                  <a:pt x="224313" y="57406"/>
                  <a:pt x="219944" y="46909"/>
                </a:cubicBezTo>
                <a:cubicBezTo>
                  <a:pt x="207099" y="60107"/>
                  <a:pt x="182914" y="65356"/>
                  <a:pt x="163810" y="64989"/>
                </a:cubicBezTo>
                <a:cubicBezTo>
                  <a:pt x="113792" y="64989"/>
                  <a:pt x="73243" y="105538"/>
                  <a:pt x="73243" y="155556"/>
                </a:cubicBezTo>
                <a:cubicBezTo>
                  <a:pt x="73243" y="179467"/>
                  <a:pt x="82509" y="201213"/>
                  <a:pt x="97830" y="217225"/>
                </a:cubicBezTo>
                <a:close/>
                <a:moveTo>
                  <a:pt x="268191" y="95157"/>
                </a:moveTo>
                <a:cubicBezTo>
                  <a:pt x="257695" y="90787"/>
                  <a:pt x="247952" y="84234"/>
                  <a:pt x="239431" y="75715"/>
                </a:cubicBezTo>
                <a:lnTo>
                  <a:pt x="97875" y="217270"/>
                </a:lnTo>
                <a:cubicBezTo>
                  <a:pt x="113887" y="232591"/>
                  <a:pt x="135634" y="241857"/>
                  <a:pt x="159544" y="241857"/>
                </a:cubicBezTo>
                <a:cubicBezTo>
                  <a:pt x="184553" y="241857"/>
                  <a:pt x="207195" y="231720"/>
                  <a:pt x="223585" y="215331"/>
                </a:cubicBezTo>
                <a:cubicBezTo>
                  <a:pt x="239974" y="198941"/>
                  <a:pt x="250111" y="176299"/>
                  <a:pt x="250111" y="151290"/>
                </a:cubicBezTo>
                <a:cubicBezTo>
                  <a:pt x="249745" y="132187"/>
                  <a:pt x="254994" y="108002"/>
                  <a:pt x="268191" y="95157"/>
                </a:cubicBezTo>
                <a:close/>
                <a:moveTo>
                  <a:pt x="391275" y="232488"/>
                </a:moveTo>
                <a:cubicBezTo>
                  <a:pt x="366688" y="214199"/>
                  <a:pt x="350981" y="184860"/>
                  <a:pt x="350981" y="151853"/>
                </a:cubicBezTo>
                <a:cubicBezTo>
                  <a:pt x="351479" y="125869"/>
                  <a:pt x="347689" y="109892"/>
                  <a:pt x="331337" y="99934"/>
                </a:cubicBezTo>
                <a:cubicBezTo>
                  <a:pt x="315088" y="104415"/>
                  <a:pt x="297874" y="104335"/>
                  <a:pt x="281637" y="99721"/>
                </a:cubicBezTo>
                <a:cubicBezTo>
                  <a:pt x="265010" y="109675"/>
                  <a:pt x="261165" y="125694"/>
                  <a:pt x="261667" y="151853"/>
                </a:cubicBezTo>
                <a:cubicBezTo>
                  <a:pt x="261667" y="179968"/>
                  <a:pt x="250271" y="205421"/>
                  <a:pt x="231847" y="223846"/>
                </a:cubicBezTo>
                <a:lnTo>
                  <a:pt x="221347" y="232509"/>
                </a:lnTo>
                <a:cubicBezTo>
                  <a:pt x="224390" y="249009"/>
                  <a:pt x="232545" y="264623"/>
                  <a:pt x="245300" y="277378"/>
                </a:cubicBezTo>
                <a:cubicBezTo>
                  <a:pt x="262207" y="294285"/>
                  <a:pt x="284136" y="303111"/>
                  <a:pt x="306292" y="303599"/>
                </a:cubicBezTo>
                <a:lnTo>
                  <a:pt x="306292" y="218433"/>
                </a:lnTo>
                <a:lnTo>
                  <a:pt x="306356" y="218433"/>
                </a:lnTo>
                <a:lnTo>
                  <a:pt x="306356" y="303599"/>
                </a:lnTo>
                <a:cubicBezTo>
                  <a:pt x="328512" y="303110"/>
                  <a:pt x="350441" y="294285"/>
                  <a:pt x="367348" y="277378"/>
                </a:cubicBezTo>
                <a:cubicBezTo>
                  <a:pt x="380109" y="264617"/>
                  <a:pt x="388266" y="248996"/>
                  <a:pt x="391275" y="232488"/>
                </a:cubicBezTo>
                <a:close/>
                <a:moveTo>
                  <a:pt x="514773" y="217271"/>
                </a:moveTo>
                <a:lnTo>
                  <a:pt x="373218" y="75716"/>
                </a:lnTo>
                <a:cubicBezTo>
                  <a:pt x="364700" y="84231"/>
                  <a:pt x="354962" y="90781"/>
                  <a:pt x="344508" y="95209"/>
                </a:cubicBezTo>
                <a:cubicBezTo>
                  <a:pt x="357668" y="108066"/>
                  <a:pt x="362903" y="132212"/>
                  <a:pt x="362537" y="151290"/>
                </a:cubicBezTo>
                <a:cubicBezTo>
                  <a:pt x="362537" y="201309"/>
                  <a:pt x="403085" y="241857"/>
                  <a:pt x="453104" y="241857"/>
                </a:cubicBezTo>
                <a:cubicBezTo>
                  <a:pt x="477015" y="241857"/>
                  <a:pt x="498761" y="232592"/>
                  <a:pt x="514773" y="217271"/>
                </a:cubicBezTo>
                <a:close/>
                <a:moveTo>
                  <a:pt x="539405" y="155556"/>
                </a:moveTo>
                <a:cubicBezTo>
                  <a:pt x="539405" y="105538"/>
                  <a:pt x="498856" y="64989"/>
                  <a:pt x="448838" y="64989"/>
                </a:cubicBezTo>
                <a:cubicBezTo>
                  <a:pt x="429760" y="65355"/>
                  <a:pt x="405614" y="60121"/>
                  <a:pt x="392756" y="46961"/>
                </a:cubicBezTo>
                <a:cubicBezTo>
                  <a:pt x="388329" y="57415"/>
                  <a:pt x="381778" y="67153"/>
                  <a:pt x="373263" y="75671"/>
                </a:cubicBezTo>
                <a:lnTo>
                  <a:pt x="514818" y="217225"/>
                </a:lnTo>
                <a:cubicBezTo>
                  <a:pt x="530139" y="201213"/>
                  <a:pt x="539405" y="179467"/>
                  <a:pt x="539405" y="155556"/>
                </a:cubicBezTo>
                <a:close/>
                <a:moveTo>
                  <a:pt x="612648" y="8776"/>
                </a:moveTo>
                <a:cubicBezTo>
                  <a:pt x="612257" y="34030"/>
                  <a:pt x="602326" y="59101"/>
                  <a:pt x="583058" y="78369"/>
                </a:cubicBezTo>
                <a:cubicBezTo>
                  <a:pt x="569890" y="91537"/>
                  <a:pt x="554014" y="100343"/>
                  <a:pt x="537134" y="104416"/>
                </a:cubicBezTo>
                <a:cubicBezTo>
                  <a:pt x="546224" y="119205"/>
                  <a:pt x="551214" y="136643"/>
                  <a:pt x="551214" y="155247"/>
                </a:cubicBezTo>
                <a:cubicBezTo>
                  <a:pt x="551214" y="182497"/>
                  <a:pt x="540509" y="207247"/>
                  <a:pt x="522928" y="225380"/>
                </a:cubicBezTo>
                <a:lnTo>
                  <a:pt x="522928" y="225380"/>
                </a:lnTo>
                <a:cubicBezTo>
                  <a:pt x="504794" y="242961"/>
                  <a:pt x="480044" y="253667"/>
                  <a:pt x="452794" y="253667"/>
                </a:cubicBezTo>
                <a:cubicBezTo>
                  <a:pt x="434191" y="253667"/>
                  <a:pt x="416753" y="248677"/>
                  <a:pt x="401964" y="239586"/>
                </a:cubicBezTo>
                <a:cubicBezTo>
                  <a:pt x="397891" y="256466"/>
                  <a:pt x="389084" y="272342"/>
                  <a:pt x="375917" y="285509"/>
                </a:cubicBezTo>
                <a:cubicBezTo>
                  <a:pt x="356649" y="304778"/>
                  <a:pt x="331578" y="314709"/>
                  <a:pt x="306324" y="315100"/>
                </a:cubicBezTo>
                <a:lnTo>
                  <a:pt x="306324" y="315100"/>
                </a:lnTo>
                <a:cubicBezTo>
                  <a:pt x="281070" y="314709"/>
                  <a:pt x="255999" y="304778"/>
                  <a:pt x="236731" y="285509"/>
                </a:cubicBezTo>
                <a:cubicBezTo>
                  <a:pt x="223571" y="272349"/>
                  <a:pt x="214766" y="256482"/>
                  <a:pt x="210610" y="239626"/>
                </a:cubicBezTo>
                <a:cubicBezTo>
                  <a:pt x="195839" y="248693"/>
                  <a:pt x="178427" y="253666"/>
                  <a:pt x="159854" y="253666"/>
                </a:cubicBezTo>
                <a:cubicBezTo>
                  <a:pt x="132604" y="253666"/>
                  <a:pt x="107854" y="242961"/>
                  <a:pt x="89720" y="225380"/>
                </a:cubicBezTo>
                <a:lnTo>
                  <a:pt x="89720" y="225380"/>
                </a:lnTo>
                <a:cubicBezTo>
                  <a:pt x="72139" y="207247"/>
                  <a:pt x="61434" y="182497"/>
                  <a:pt x="61434" y="155247"/>
                </a:cubicBezTo>
                <a:cubicBezTo>
                  <a:pt x="61434" y="136673"/>
                  <a:pt x="66407" y="119262"/>
                  <a:pt x="75474" y="104490"/>
                </a:cubicBezTo>
                <a:cubicBezTo>
                  <a:pt x="58618" y="100334"/>
                  <a:pt x="42751" y="91530"/>
                  <a:pt x="29591" y="78369"/>
                </a:cubicBezTo>
                <a:cubicBezTo>
                  <a:pt x="10322" y="59101"/>
                  <a:pt x="391" y="34030"/>
                  <a:pt x="0" y="8776"/>
                </a:cubicBezTo>
                <a:lnTo>
                  <a:pt x="0" y="8776"/>
                </a:lnTo>
                <a:lnTo>
                  <a:pt x="1828" y="0"/>
                </a:lnTo>
                <a:lnTo>
                  <a:pt x="13374" y="0"/>
                </a:lnTo>
                <a:cubicBezTo>
                  <a:pt x="11782" y="2802"/>
                  <a:pt x="11567" y="5771"/>
                  <a:pt x="11501" y="8744"/>
                </a:cubicBezTo>
                <a:lnTo>
                  <a:pt x="96667" y="8744"/>
                </a:lnTo>
                <a:lnTo>
                  <a:pt x="96667" y="8808"/>
                </a:lnTo>
                <a:lnTo>
                  <a:pt x="11501" y="8808"/>
                </a:lnTo>
                <a:cubicBezTo>
                  <a:pt x="11989" y="30964"/>
                  <a:pt x="20815" y="52893"/>
                  <a:pt x="37722" y="69800"/>
                </a:cubicBezTo>
                <a:cubicBezTo>
                  <a:pt x="50477" y="82555"/>
                  <a:pt x="66091" y="90711"/>
                  <a:pt x="82592" y="93753"/>
                </a:cubicBezTo>
                <a:cubicBezTo>
                  <a:pt x="100880" y="69151"/>
                  <a:pt x="130228" y="53433"/>
                  <a:pt x="163247" y="53433"/>
                </a:cubicBezTo>
                <a:cubicBezTo>
                  <a:pt x="186137" y="53872"/>
                  <a:pt x="201262" y="50984"/>
                  <a:pt x="211355" y="39116"/>
                </a:cubicBezTo>
                <a:cubicBezTo>
                  <a:pt x="212796" y="37420"/>
                  <a:pt x="214135" y="35542"/>
                  <a:pt x="215380" y="33463"/>
                </a:cubicBezTo>
                <a:lnTo>
                  <a:pt x="215236" y="0"/>
                </a:lnTo>
                <a:lnTo>
                  <a:pt x="223506" y="0"/>
                </a:lnTo>
                <a:cubicBezTo>
                  <a:pt x="219687" y="24354"/>
                  <a:pt x="227777" y="49750"/>
                  <a:pt x="246535" y="68520"/>
                </a:cubicBezTo>
                <a:lnTo>
                  <a:pt x="254763" y="60293"/>
                </a:lnTo>
                <a:cubicBezTo>
                  <a:pt x="254771" y="60299"/>
                  <a:pt x="254778" y="60307"/>
                  <a:pt x="254786" y="60315"/>
                </a:cubicBezTo>
                <a:lnTo>
                  <a:pt x="254808" y="60338"/>
                </a:lnTo>
                <a:lnTo>
                  <a:pt x="246580" y="68565"/>
                </a:lnTo>
                <a:cubicBezTo>
                  <a:pt x="279582" y="101547"/>
                  <a:pt x="333066" y="101547"/>
                  <a:pt x="366068" y="68565"/>
                </a:cubicBezTo>
                <a:lnTo>
                  <a:pt x="357840" y="60338"/>
                </a:lnTo>
                <a:cubicBezTo>
                  <a:pt x="357847" y="60330"/>
                  <a:pt x="357855" y="60322"/>
                  <a:pt x="357862" y="60315"/>
                </a:cubicBezTo>
                <a:lnTo>
                  <a:pt x="357885" y="60293"/>
                </a:lnTo>
                <a:lnTo>
                  <a:pt x="366113" y="68520"/>
                </a:lnTo>
                <a:cubicBezTo>
                  <a:pt x="384871" y="49750"/>
                  <a:pt x="392961" y="24354"/>
                  <a:pt x="389142" y="0"/>
                </a:cubicBezTo>
                <a:lnTo>
                  <a:pt x="397337" y="0"/>
                </a:lnTo>
                <a:cubicBezTo>
                  <a:pt x="401479" y="11094"/>
                  <a:pt x="400548" y="22668"/>
                  <a:pt x="397481" y="33790"/>
                </a:cubicBezTo>
                <a:cubicBezTo>
                  <a:pt x="407439" y="50142"/>
                  <a:pt x="423417" y="53932"/>
                  <a:pt x="449401" y="53433"/>
                </a:cubicBezTo>
                <a:cubicBezTo>
                  <a:pt x="482407" y="53434"/>
                  <a:pt x="511746" y="69140"/>
                  <a:pt x="530035" y="93727"/>
                </a:cubicBezTo>
                <a:cubicBezTo>
                  <a:pt x="546543" y="90718"/>
                  <a:pt x="562165" y="82561"/>
                  <a:pt x="574926" y="69800"/>
                </a:cubicBezTo>
                <a:cubicBezTo>
                  <a:pt x="591833" y="52893"/>
                  <a:pt x="600658" y="30964"/>
                  <a:pt x="601147" y="8808"/>
                </a:cubicBezTo>
                <a:lnTo>
                  <a:pt x="515982" y="8808"/>
                </a:lnTo>
                <a:lnTo>
                  <a:pt x="515981" y="8744"/>
                </a:lnTo>
                <a:lnTo>
                  <a:pt x="601147" y="8744"/>
                </a:lnTo>
                <a:lnTo>
                  <a:pt x="599274" y="0"/>
                </a:lnTo>
                <a:lnTo>
                  <a:pt x="610820" y="0"/>
                </a:lnTo>
                <a:cubicBezTo>
                  <a:pt x="612423" y="2826"/>
                  <a:pt x="612602" y="5800"/>
                  <a:pt x="612648" y="8776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3" name="Oval 1702"/>
          <p:cNvSpPr/>
          <p:nvPr/>
        </p:nvSpPr>
        <p:spPr>
          <a:xfrm>
            <a:off x="28309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04" name="Teardrop 3"/>
          <p:cNvSpPr/>
          <p:nvPr/>
        </p:nvSpPr>
        <p:spPr>
          <a:xfrm rot="5400000" flipH="1" flipV="1">
            <a:off x="104064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5" name="Teardrop 3"/>
          <p:cNvSpPr/>
          <p:nvPr/>
        </p:nvSpPr>
        <p:spPr>
          <a:xfrm rot="5400000" flipH="1" flipV="1">
            <a:off x="167255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6" name="Teardrop 3"/>
          <p:cNvSpPr/>
          <p:nvPr/>
        </p:nvSpPr>
        <p:spPr>
          <a:xfrm rot="5400000" flipH="1" flipV="1">
            <a:off x="230445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7" name="Teardrop 3"/>
          <p:cNvSpPr/>
          <p:nvPr/>
        </p:nvSpPr>
        <p:spPr>
          <a:xfrm rot="5400000" flipH="1" flipV="1">
            <a:off x="293636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8" name="Teardrop 3"/>
          <p:cNvSpPr/>
          <p:nvPr/>
        </p:nvSpPr>
        <p:spPr>
          <a:xfrm rot="5400000" flipH="1" flipV="1">
            <a:off x="356826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9" name="Teardrop 3"/>
          <p:cNvSpPr/>
          <p:nvPr/>
        </p:nvSpPr>
        <p:spPr>
          <a:xfrm rot="5400000" flipH="1" flipV="1">
            <a:off x="420017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0" name="Oval 1709"/>
          <p:cNvSpPr/>
          <p:nvPr/>
        </p:nvSpPr>
        <p:spPr>
          <a:xfrm>
            <a:off x="91525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11" name="Oval 1710"/>
          <p:cNvSpPr/>
          <p:nvPr/>
        </p:nvSpPr>
        <p:spPr>
          <a:xfrm>
            <a:off x="154741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12" name="Oval 1711"/>
          <p:cNvSpPr/>
          <p:nvPr/>
        </p:nvSpPr>
        <p:spPr>
          <a:xfrm>
            <a:off x="217957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13" name="Oval 1712"/>
          <p:cNvSpPr/>
          <p:nvPr/>
        </p:nvSpPr>
        <p:spPr>
          <a:xfrm>
            <a:off x="281173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14" name="Oval 1713"/>
          <p:cNvSpPr/>
          <p:nvPr/>
        </p:nvSpPr>
        <p:spPr>
          <a:xfrm>
            <a:off x="344389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15" name="Oval 1714"/>
          <p:cNvSpPr/>
          <p:nvPr/>
        </p:nvSpPr>
        <p:spPr>
          <a:xfrm>
            <a:off x="407605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16" name="Oval 1715"/>
          <p:cNvSpPr/>
          <p:nvPr/>
        </p:nvSpPr>
        <p:spPr>
          <a:xfrm>
            <a:off x="470821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17" name="Teardrop 3"/>
          <p:cNvSpPr/>
          <p:nvPr/>
        </p:nvSpPr>
        <p:spPr>
          <a:xfrm rot="5400000" flipH="1" flipV="1">
            <a:off x="609588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8" name="Oval 1717"/>
          <p:cNvSpPr/>
          <p:nvPr/>
        </p:nvSpPr>
        <p:spPr>
          <a:xfrm>
            <a:off x="660469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19" name="Teardrop 3"/>
          <p:cNvSpPr/>
          <p:nvPr/>
        </p:nvSpPr>
        <p:spPr>
          <a:xfrm rot="5400000" flipH="1" flipV="1">
            <a:off x="546398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0" name="Oval 1719"/>
          <p:cNvSpPr/>
          <p:nvPr/>
        </p:nvSpPr>
        <p:spPr>
          <a:xfrm>
            <a:off x="597253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21" name="Teardrop 3"/>
          <p:cNvSpPr/>
          <p:nvPr/>
        </p:nvSpPr>
        <p:spPr>
          <a:xfrm rot="5400000" flipH="1" flipV="1">
            <a:off x="735969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2" name="Oval 1721"/>
          <p:cNvSpPr/>
          <p:nvPr/>
        </p:nvSpPr>
        <p:spPr>
          <a:xfrm>
            <a:off x="786901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23" name="Teardrop 3"/>
          <p:cNvSpPr/>
          <p:nvPr/>
        </p:nvSpPr>
        <p:spPr>
          <a:xfrm rot="5400000" flipH="1" flipV="1">
            <a:off x="672779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4" name="Oval 1723"/>
          <p:cNvSpPr/>
          <p:nvPr/>
        </p:nvSpPr>
        <p:spPr>
          <a:xfrm>
            <a:off x="723685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25" name="Teardrop 3"/>
          <p:cNvSpPr/>
          <p:nvPr/>
        </p:nvSpPr>
        <p:spPr>
          <a:xfrm rot="5400000" flipH="1" flipV="1">
            <a:off x="8623508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6" name="Teardrop 3"/>
          <p:cNvSpPr/>
          <p:nvPr/>
        </p:nvSpPr>
        <p:spPr>
          <a:xfrm rot="5400000" flipH="1" flipV="1">
            <a:off x="799160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7" name="Oval 1726"/>
          <p:cNvSpPr/>
          <p:nvPr/>
        </p:nvSpPr>
        <p:spPr>
          <a:xfrm>
            <a:off x="850117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28" name="Teardrop 3"/>
          <p:cNvSpPr/>
          <p:nvPr/>
        </p:nvSpPr>
        <p:spPr>
          <a:xfrm rot="5400000" flipH="1" flipV="1">
            <a:off x="40874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9" name="Oval 1728"/>
          <p:cNvSpPr/>
          <p:nvPr/>
        </p:nvSpPr>
        <p:spPr>
          <a:xfrm>
            <a:off x="499838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0" name="Oval 1729"/>
          <p:cNvSpPr/>
          <p:nvPr/>
        </p:nvSpPr>
        <p:spPr>
          <a:xfrm>
            <a:off x="57504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1" name="Oval 1730"/>
          <p:cNvSpPr/>
          <p:nvPr/>
        </p:nvSpPr>
        <p:spPr>
          <a:xfrm>
            <a:off x="120695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2" name="Oval 1731"/>
          <p:cNvSpPr/>
          <p:nvPr/>
        </p:nvSpPr>
        <p:spPr>
          <a:xfrm>
            <a:off x="183885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3" name="Oval 1732"/>
          <p:cNvSpPr/>
          <p:nvPr/>
        </p:nvSpPr>
        <p:spPr>
          <a:xfrm>
            <a:off x="247076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4" name="Oval 1733"/>
          <p:cNvSpPr/>
          <p:nvPr/>
        </p:nvSpPr>
        <p:spPr>
          <a:xfrm>
            <a:off x="310266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5" name="Oval 1734"/>
          <p:cNvSpPr/>
          <p:nvPr/>
        </p:nvSpPr>
        <p:spPr>
          <a:xfrm>
            <a:off x="373457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6" name="Oval 1735"/>
          <p:cNvSpPr/>
          <p:nvPr/>
        </p:nvSpPr>
        <p:spPr>
          <a:xfrm>
            <a:off x="436647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7" name="Oval 1736"/>
          <p:cNvSpPr/>
          <p:nvPr/>
        </p:nvSpPr>
        <p:spPr>
          <a:xfrm>
            <a:off x="626219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8" name="Oval 1737"/>
          <p:cNvSpPr/>
          <p:nvPr/>
        </p:nvSpPr>
        <p:spPr>
          <a:xfrm>
            <a:off x="563028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9" name="Oval 1738"/>
          <p:cNvSpPr/>
          <p:nvPr/>
        </p:nvSpPr>
        <p:spPr>
          <a:xfrm>
            <a:off x="752600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0" name="Oval 1739"/>
          <p:cNvSpPr/>
          <p:nvPr/>
        </p:nvSpPr>
        <p:spPr>
          <a:xfrm>
            <a:off x="689409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1" name="Oval 1740"/>
          <p:cNvSpPr/>
          <p:nvPr/>
        </p:nvSpPr>
        <p:spPr>
          <a:xfrm>
            <a:off x="8789813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2" name="Oval 1741"/>
          <p:cNvSpPr/>
          <p:nvPr/>
        </p:nvSpPr>
        <p:spPr>
          <a:xfrm>
            <a:off x="815790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3" name="Teardrop 3"/>
          <p:cNvSpPr/>
          <p:nvPr/>
        </p:nvSpPr>
        <p:spPr>
          <a:xfrm rot="5400000" flipH="1" flipV="1">
            <a:off x="4515886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4" name="Teardrop 3"/>
          <p:cNvSpPr/>
          <p:nvPr/>
        </p:nvSpPr>
        <p:spPr>
          <a:xfrm rot="5400000" flipH="1" flipV="1">
            <a:off x="724457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5" name="Teardrop 3"/>
          <p:cNvSpPr/>
          <p:nvPr/>
        </p:nvSpPr>
        <p:spPr>
          <a:xfrm rot="5400000" flipH="1" flipV="1">
            <a:off x="135636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6" name="Teardrop 3"/>
          <p:cNvSpPr/>
          <p:nvPr/>
        </p:nvSpPr>
        <p:spPr>
          <a:xfrm rot="5400000" flipH="1" flipV="1">
            <a:off x="1988267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7" name="Teardrop 3"/>
          <p:cNvSpPr/>
          <p:nvPr/>
        </p:nvSpPr>
        <p:spPr>
          <a:xfrm rot="5400000" flipH="1" flipV="1">
            <a:off x="262017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8" name="Teardrop 3"/>
          <p:cNvSpPr/>
          <p:nvPr/>
        </p:nvSpPr>
        <p:spPr>
          <a:xfrm rot="5400000" flipH="1" flipV="1">
            <a:off x="3252077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9" name="Teardrop 3"/>
          <p:cNvSpPr/>
          <p:nvPr/>
        </p:nvSpPr>
        <p:spPr>
          <a:xfrm rot="5400000" flipH="1" flipV="1">
            <a:off x="388398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0" name="Teardrop 3"/>
          <p:cNvSpPr/>
          <p:nvPr/>
        </p:nvSpPr>
        <p:spPr>
          <a:xfrm rot="5400000" flipH="1" flipV="1">
            <a:off x="5779697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1" name="Teardrop 3"/>
          <p:cNvSpPr/>
          <p:nvPr/>
        </p:nvSpPr>
        <p:spPr>
          <a:xfrm rot="5400000" flipH="1" flipV="1">
            <a:off x="514779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2" name="Teardrop 3"/>
          <p:cNvSpPr/>
          <p:nvPr/>
        </p:nvSpPr>
        <p:spPr>
          <a:xfrm rot="5400000" flipH="1" flipV="1">
            <a:off x="7043507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3" name="Teardrop 3"/>
          <p:cNvSpPr/>
          <p:nvPr/>
        </p:nvSpPr>
        <p:spPr>
          <a:xfrm rot="5400000" flipH="1" flipV="1">
            <a:off x="641160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4" name="Teardrop 3"/>
          <p:cNvSpPr/>
          <p:nvPr/>
        </p:nvSpPr>
        <p:spPr>
          <a:xfrm rot="5400000" flipH="1" flipV="1">
            <a:off x="8307316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5" name="Teardrop 3"/>
          <p:cNvSpPr/>
          <p:nvPr/>
        </p:nvSpPr>
        <p:spPr>
          <a:xfrm rot="5400000" flipH="1" flipV="1">
            <a:off x="767541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6" name="Teardrop 3"/>
          <p:cNvSpPr/>
          <p:nvPr/>
        </p:nvSpPr>
        <p:spPr>
          <a:xfrm rot="5400000" flipH="1" flipV="1">
            <a:off x="9255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7" name="Teardrop 3"/>
          <p:cNvSpPr/>
          <p:nvPr/>
        </p:nvSpPr>
        <p:spPr>
          <a:xfrm rot="5400000" flipH="1" flipV="1">
            <a:off x="8820002" y="1148309"/>
            <a:ext cx="446836" cy="201161"/>
          </a:xfrm>
          <a:custGeom>
            <a:avLst/>
            <a:gdLst/>
            <a:ahLst/>
            <a:cxnLst/>
            <a:rect l="l" t="t" r="r" b="b"/>
            <a:pathLst>
              <a:path w="595781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7" y="250112"/>
                  <a:pt x="155376" y="250112"/>
                </a:cubicBezTo>
                <a:cubicBezTo>
                  <a:pt x="174454" y="249746"/>
                  <a:pt x="198601" y="254980"/>
                  <a:pt x="211458" y="268141"/>
                </a:cubicBezTo>
                <a:cubicBezTo>
                  <a:pt x="215885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382868" y="82592"/>
                </a:moveTo>
                <a:cubicBezTo>
                  <a:pt x="379825" y="66091"/>
                  <a:pt x="371670" y="50477"/>
                  <a:pt x="358914" y="37722"/>
                </a:cubicBezTo>
                <a:cubicBezTo>
                  <a:pt x="342007" y="20815"/>
                  <a:pt x="320078" y="11989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3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6" y="100902"/>
                  <a:pt x="253233" y="130241"/>
                  <a:pt x="253233" y="163248"/>
                </a:cubicBezTo>
                <a:cubicBezTo>
                  <a:pt x="252735" y="189232"/>
                  <a:pt x="256525" y="205210"/>
                  <a:pt x="272877" y="215167"/>
                </a:cubicBezTo>
                <a:cubicBezTo>
                  <a:pt x="289126" y="210687"/>
                  <a:pt x="306340" y="210767"/>
                  <a:pt x="322577" y="215380"/>
                </a:cubicBezTo>
                <a:cubicBezTo>
                  <a:pt x="324655" y="214136"/>
                  <a:pt x="326534" y="212797"/>
                  <a:pt x="328229" y="211355"/>
                </a:cubicBezTo>
                <a:cubicBezTo>
                  <a:pt x="340097" y="201263"/>
                  <a:pt x="342986" y="186138"/>
                  <a:pt x="342547" y="163248"/>
                </a:cubicBezTo>
                <a:cubicBezTo>
                  <a:pt x="342547" y="130228"/>
                  <a:pt x="358265" y="100880"/>
                  <a:pt x="382868" y="82592"/>
                </a:cubicBezTo>
                <a:close/>
                <a:moveTo>
                  <a:pt x="506339" y="97830"/>
                </a:moveTo>
                <a:cubicBezTo>
                  <a:pt x="490327" y="82509"/>
                  <a:pt x="468581" y="73244"/>
                  <a:pt x="444670" y="73244"/>
                </a:cubicBezTo>
                <a:cubicBezTo>
                  <a:pt x="394651" y="73244"/>
                  <a:pt x="354103" y="113792"/>
                  <a:pt x="354103" y="163811"/>
                </a:cubicBezTo>
                <a:cubicBezTo>
                  <a:pt x="354470" y="182914"/>
                  <a:pt x="349220" y="207099"/>
                  <a:pt x="336023" y="219944"/>
                </a:cubicBezTo>
                <a:cubicBezTo>
                  <a:pt x="346519" y="224314"/>
                  <a:pt x="356263" y="230867"/>
                  <a:pt x="364783" y="239386"/>
                </a:cubicBezTo>
                <a:close/>
                <a:moveTo>
                  <a:pt x="530971" y="159544"/>
                </a:moveTo>
                <a:cubicBezTo>
                  <a:pt x="530971" y="135634"/>
                  <a:pt x="521705" y="113887"/>
                  <a:pt x="506384" y="97876"/>
                </a:cubicBezTo>
                <a:lnTo>
                  <a:pt x="364828" y="239431"/>
                </a:lnTo>
                <a:cubicBezTo>
                  <a:pt x="373348" y="247952"/>
                  <a:pt x="379901" y="257695"/>
                  <a:pt x="384270" y="268192"/>
                </a:cubicBezTo>
                <a:cubicBezTo>
                  <a:pt x="397115" y="254994"/>
                  <a:pt x="421300" y="249745"/>
                  <a:pt x="440404" y="250111"/>
                </a:cubicBezTo>
                <a:cubicBezTo>
                  <a:pt x="465413" y="250112"/>
                  <a:pt x="488055" y="239974"/>
                  <a:pt x="504444" y="223585"/>
                </a:cubicBezTo>
                <a:cubicBezTo>
                  <a:pt x="520834" y="207196"/>
                  <a:pt x="530971" y="184554"/>
                  <a:pt x="530971" y="159544"/>
                </a:cubicBezTo>
                <a:close/>
                <a:moveTo>
                  <a:pt x="595781" y="268215"/>
                </a:moveTo>
                <a:lnTo>
                  <a:pt x="581969" y="268215"/>
                </a:lnTo>
                <a:cubicBezTo>
                  <a:pt x="578743" y="259654"/>
                  <a:pt x="573266" y="252074"/>
                  <a:pt x="566492" y="245300"/>
                </a:cubicBezTo>
                <a:cubicBezTo>
                  <a:pt x="553737" y="232545"/>
                  <a:pt x="538123" y="224389"/>
                  <a:pt x="521623" y="221347"/>
                </a:cubicBezTo>
                <a:cubicBezTo>
                  <a:pt x="519174" y="225205"/>
                  <a:pt x="516174" y="228633"/>
                  <a:pt x="512960" y="231847"/>
                </a:cubicBezTo>
                <a:cubicBezTo>
                  <a:pt x="494535" y="250272"/>
                  <a:pt x="469082" y="261667"/>
                  <a:pt x="440967" y="261667"/>
                </a:cubicBezTo>
                <a:cubicBezTo>
                  <a:pt x="425629" y="261373"/>
                  <a:pt x="413777" y="262574"/>
                  <a:pt x="405186" y="268215"/>
                </a:cubicBezTo>
                <a:lnTo>
                  <a:pt x="372038" y="268215"/>
                </a:lnTo>
                <a:cubicBezTo>
                  <a:pt x="369178" y="260078"/>
                  <a:pt x="364042" y="252948"/>
                  <a:pt x="357679" y="246581"/>
                </a:cubicBezTo>
                <a:lnTo>
                  <a:pt x="349451" y="254808"/>
                </a:lnTo>
                <a:lnTo>
                  <a:pt x="349428" y="254786"/>
                </a:lnTo>
                <a:cubicBezTo>
                  <a:pt x="349421" y="254779"/>
                  <a:pt x="349413" y="254771"/>
                  <a:pt x="349406" y="254763"/>
                </a:cubicBezTo>
                <a:lnTo>
                  <a:pt x="357634" y="246536"/>
                </a:lnTo>
                <a:cubicBezTo>
                  <a:pt x="324632" y="213554"/>
                  <a:pt x="271148" y="213554"/>
                  <a:pt x="238146" y="246536"/>
                </a:cubicBezTo>
                <a:lnTo>
                  <a:pt x="246374" y="254763"/>
                </a:lnTo>
                <a:cubicBezTo>
                  <a:pt x="246367" y="254771"/>
                  <a:pt x="246359" y="254779"/>
                  <a:pt x="246352" y="254786"/>
                </a:cubicBezTo>
                <a:cubicBezTo>
                  <a:pt x="246344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69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8" y="221373"/>
                </a:cubicBezTo>
                <a:cubicBezTo>
                  <a:pt x="57671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89" y="195895"/>
                  <a:pt x="53000" y="178457"/>
                  <a:pt x="53000" y="159854"/>
                </a:cubicBezTo>
                <a:cubicBezTo>
                  <a:pt x="53000" y="132604"/>
                  <a:pt x="63705" y="107854"/>
                  <a:pt x="81286" y="89721"/>
                </a:cubicBezTo>
                <a:lnTo>
                  <a:pt x="81286" y="89721"/>
                </a:ln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30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lnTo>
                  <a:pt x="297890" y="0"/>
                </a:lnTo>
                <a:cubicBezTo>
                  <a:pt x="323144" y="391"/>
                  <a:pt x="348215" y="10322"/>
                  <a:pt x="367484" y="29591"/>
                </a:cubicBezTo>
                <a:cubicBezTo>
                  <a:pt x="380644" y="42751"/>
                  <a:pt x="389448" y="58618"/>
                  <a:pt x="393604" y="75474"/>
                </a:cubicBezTo>
                <a:cubicBezTo>
                  <a:pt x="408376" y="66408"/>
                  <a:pt x="425787" y="61434"/>
                  <a:pt x="444360" y="61434"/>
                </a:cubicBezTo>
                <a:cubicBezTo>
                  <a:pt x="471610" y="61434"/>
                  <a:pt x="496360" y="72140"/>
                  <a:pt x="514494" y="89721"/>
                </a:cubicBezTo>
                <a:cubicBezTo>
                  <a:pt x="532075" y="107854"/>
                  <a:pt x="542780" y="132604"/>
                  <a:pt x="542780" y="159854"/>
                </a:cubicBezTo>
                <a:cubicBezTo>
                  <a:pt x="542780" y="178427"/>
                  <a:pt x="537807" y="195839"/>
                  <a:pt x="528740" y="210610"/>
                </a:cubicBezTo>
                <a:cubicBezTo>
                  <a:pt x="545596" y="214766"/>
                  <a:pt x="561463" y="223570"/>
                  <a:pt x="574624" y="2367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8" name="Oval 1757"/>
          <p:cNvSpPr/>
          <p:nvPr/>
        </p:nvSpPr>
        <p:spPr>
          <a:xfrm>
            <a:off x="531499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9" name="Oval 1758"/>
          <p:cNvSpPr/>
          <p:nvPr/>
        </p:nvSpPr>
        <p:spPr>
          <a:xfrm>
            <a:off x="25975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0" name="Oval 1759"/>
          <p:cNvSpPr/>
          <p:nvPr/>
        </p:nvSpPr>
        <p:spPr>
          <a:xfrm>
            <a:off x="89165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1" name="Oval 1760"/>
          <p:cNvSpPr/>
          <p:nvPr/>
        </p:nvSpPr>
        <p:spPr>
          <a:xfrm>
            <a:off x="152356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2" name="Oval 1761"/>
          <p:cNvSpPr/>
          <p:nvPr/>
        </p:nvSpPr>
        <p:spPr>
          <a:xfrm>
            <a:off x="215546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3" name="Oval 1762"/>
          <p:cNvSpPr/>
          <p:nvPr/>
        </p:nvSpPr>
        <p:spPr>
          <a:xfrm>
            <a:off x="278737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4" name="Oval 1763"/>
          <p:cNvSpPr/>
          <p:nvPr/>
        </p:nvSpPr>
        <p:spPr>
          <a:xfrm>
            <a:off x="341927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5" name="Oval 1764"/>
          <p:cNvSpPr/>
          <p:nvPr/>
        </p:nvSpPr>
        <p:spPr>
          <a:xfrm>
            <a:off x="405118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6" name="Oval 1765"/>
          <p:cNvSpPr/>
          <p:nvPr/>
        </p:nvSpPr>
        <p:spPr>
          <a:xfrm>
            <a:off x="468308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7" name="Oval 1766"/>
          <p:cNvSpPr/>
          <p:nvPr/>
        </p:nvSpPr>
        <p:spPr>
          <a:xfrm>
            <a:off x="657880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8" name="Oval 1767"/>
          <p:cNvSpPr/>
          <p:nvPr/>
        </p:nvSpPr>
        <p:spPr>
          <a:xfrm>
            <a:off x="594689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9" name="Oval 1768"/>
          <p:cNvSpPr/>
          <p:nvPr/>
        </p:nvSpPr>
        <p:spPr>
          <a:xfrm>
            <a:off x="784261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0" name="Oval 1769"/>
          <p:cNvSpPr/>
          <p:nvPr/>
        </p:nvSpPr>
        <p:spPr>
          <a:xfrm>
            <a:off x="721070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1" name="Oval 1770"/>
          <p:cNvSpPr/>
          <p:nvPr/>
        </p:nvSpPr>
        <p:spPr>
          <a:xfrm>
            <a:off x="847451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2" name="Teardrop 3"/>
          <p:cNvSpPr/>
          <p:nvPr/>
        </p:nvSpPr>
        <p:spPr>
          <a:xfrm rot="5400000" flipH="1" flipV="1">
            <a:off x="483207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3" name="Oval 1772"/>
          <p:cNvSpPr/>
          <p:nvPr/>
        </p:nvSpPr>
        <p:spPr>
          <a:xfrm>
            <a:off x="534037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74" name="Teardrop 3"/>
          <p:cNvSpPr/>
          <p:nvPr/>
        </p:nvSpPr>
        <p:spPr>
          <a:xfrm rot="5400000" flipH="1" flipV="1">
            <a:off x="-111581" y="1459808"/>
            <a:ext cx="459486" cy="236325"/>
          </a:xfrm>
          <a:custGeom>
            <a:avLst/>
            <a:gdLst/>
            <a:ahLst/>
            <a:cxnLst/>
            <a:rect l="l" t="t" r="r" b="b"/>
            <a:pathLst>
              <a:path w="612648" h="315100">
                <a:moveTo>
                  <a:pt x="239386" y="75670"/>
                </a:moveTo>
                <a:cubicBezTo>
                  <a:pt x="230866" y="67149"/>
                  <a:pt x="224313" y="57406"/>
                  <a:pt x="219944" y="46909"/>
                </a:cubicBezTo>
                <a:cubicBezTo>
                  <a:pt x="207099" y="60107"/>
                  <a:pt x="182914" y="65356"/>
                  <a:pt x="163810" y="64989"/>
                </a:cubicBezTo>
                <a:cubicBezTo>
                  <a:pt x="113792" y="64989"/>
                  <a:pt x="73243" y="105538"/>
                  <a:pt x="73243" y="155556"/>
                </a:cubicBezTo>
                <a:cubicBezTo>
                  <a:pt x="73243" y="179467"/>
                  <a:pt x="82509" y="201213"/>
                  <a:pt x="97830" y="217225"/>
                </a:cubicBezTo>
                <a:close/>
                <a:moveTo>
                  <a:pt x="268191" y="95157"/>
                </a:moveTo>
                <a:cubicBezTo>
                  <a:pt x="257695" y="90787"/>
                  <a:pt x="247952" y="84234"/>
                  <a:pt x="239431" y="75715"/>
                </a:cubicBezTo>
                <a:lnTo>
                  <a:pt x="97875" y="217270"/>
                </a:lnTo>
                <a:cubicBezTo>
                  <a:pt x="113887" y="232591"/>
                  <a:pt x="135634" y="241857"/>
                  <a:pt x="159544" y="241857"/>
                </a:cubicBezTo>
                <a:cubicBezTo>
                  <a:pt x="184553" y="241857"/>
                  <a:pt x="207195" y="231720"/>
                  <a:pt x="223585" y="215331"/>
                </a:cubicBezTo>
                <a:cubicBezTo>
                  <a:pt x="239974" y="198941"/>
                  <a:pt x="250111" y="176299"/>
                  <a:pt x="250111" y="151290"/>
                </a:cubicBezTo>
                <a:cubicBezTo>
                  <a:pt x="249745" y="132187"/>
                  <a:pt x="254994" y="108002"/>
                  <a:pt x="268191" y="95157"/>
                </a:cubicBezTo>
                <a:close/>
                <a:moveTo>
                  <a:pt x="391275" y="232488"/>
                </a:moveTo>
                <a:cubicBezTo>
                  <a:pt x="366688" y="214199"/>
                  <a:pt x="350981" y="184860"/>
                  <a:pt x="350981" y="151853"/>
                </a:cubicBezTo>
                <a:cubicBezTo>
                  <a:pt x="351479" y="125869"/>
                  <a:pt x="347689" y="109892"/>
                  <a:pt x="331337" y="99934"/>
                </a:cubicBezTo>
                <a:cubicBezTo>
                  <a:pt x="315088" y="104415"/>
                  <a:pt x="297874" y="104335"/>
                  <a:pt x="281637" y="99721"/>
                </a:cubicBezTo>
                <a:cubicBezTo>
                  <a:pt x="265010" y="109675"/>
                  <a:pt x="261165" y="125694"/>
                  <a:pt x="261667" y="151853"/>
                </a:cubicBezTo>
                <a:cubicBezTo>
                  <a:pt x="261667" y="179968"/>
                  <a:pt x="250271" y="205421"/>
                  <a:pt x="231847" y="223846"/>
                </a:cubicBezTo>
                <a:lnTo>
                  <a:pt x="221347" y="232509"/>
                </a:lnTo>
                <a:cubicBezTo>
                  <a:pt x="224390" y="249009"/>
                  <a:pt x="232545" y="264623"/>
                  <a:pt x="245300" y="277378"/>
                </a:cubicBezTo>
                <a:cubicBezTo>
                  <a:pt x="262208" y="294285"/>
                  <a:pt x="284137" y="303111"/>
                  <a:pt x="306292" y="303599"/>
                </a:cubicBezTo>
                <a:lnTo>
                  <a:pt x="306292" y="218433"/>
                </a:lnTo>
                <a:lnTo>
                  <a:pt x="306356" y="218433"/>
                </a:lnTo>
                <a:lnTo>
                  <a:pt x="306356" y="303599"/>
                </a:lnTo>
                <a:cubicBezTo>
                  <a:pt x="328512" y="303110"/>
                  <a:pt x="350441" y="294285"/>
                  <a:pt x="367348" y="277378"/>
                </a:cubicBezTo>
                <a:cubicBezTo>
                  <a:pt x="380109" y="264617"/>
                  <a:pt x="388266" y="248996"/>
                  <a:pt x="391275" y="232488"/>
                </a:cubicBezTo>
                <a:close/>
                <a:moveTo>
                  <a:pt x="514773" y="217271"/>
                </a:moveTo>
                <a:lnTo>
                  <a:pt x="373218" y="75716"/>
                </a:lnTo>
                <a:cubicBezTo>
                  <a:pt x="364700" y="84231"/>
                  <a:pt x="354962" y="90781"/>
                  <a:pt x="344508" y="95209"/>
                </a:cubicBezTo>
                <a:cubicBezTo>
                  <a:pt x="357668" y="108066"/>
                  <a:pt x="362903" y="132212"/>
                  <a:pt x="362537" y="151290"/>
                </a:cubicBezTo>
                <a:cubicBezTo>
                  <a:pt x="362537" y="201309"/>
                  <a:pt x="403085" y="241857"/>
                  <a:pt x="453104" y="241857"/>
                </a:cubicBezTo>
                <a:cubicBezTo>
                  <a:pt x="477015" y="241857"/>
                  <a:pt x="498761" y="232592"/>
                  <a:pt x="514773" y="217271"/>
                </a:cubicBezTo>
                <a:close/>
                <a:moveTo>
                  <a:pt x="539405" y="155556"/>
                </a:moveTo>
                <a:cubicBezTo>
                  <a:pt x="539405" y="105538"/>
                  <a:pt x="498856" y="64989"/>
                  <a:pt x="448838" y="64989"/>
                </a:cubicBezTo>
                <a:cubicBezTo>
                  <a:pt x="429760" y="65355"/>
                  <a:pt x="405614" y="60121"/>
                  <a:pt x="392756" y="46961"/>
                </a:cubicBezTo>
                <a:cubicBezTo>
                  <a:pt x="388329" y="57415"/>
                  <a:pt x="381778" y="67153"/>
                  <a:pt x="373263" y="75671"/>
                </a:cubicBezTo>
                <a:lnTo>
                  <a:pt x="514818" y="217225"/>
                </a:lnTo>
                <a:cubicBezTo>
                  <a:pt x="530139" y="201213"/>
                  <a:pt x="539405" y="179467"/>
                  <a:pt x="539405" y="155556"/>
                </a:cubicBezTo>
                <a:close/>
                <a:moveTo>
                  <a:pt x="612648" y="8776"/>
                </a:moveTo>
                <a:cubicBezTo>
                  <a:pt x="612257" y="34030"/>
                  <a:pt x="602326" y="59101"/>
                  <a:pt x="583058" y="78369"/>
                </a:cubicBezTo>
                <a:cubicBezTo>
                  <a:pt x="569890" y="91537"/>
                  <a:pt x="554014" y="100343"/>
                  <a:pt x="537134" y="104416"/>
                </a:cubicBezTo>
                <a:cubicBezTo>
                  <a:pt x="546224" y="119205"/>
                  <a:pt x="551214" y="136643"/>
                  <a:pt x="551214" y="155247"/>
                </a:cubicBezTo>
                <a:cubicBezTo>
                  <a:pt x="551214" y="182497"/>
                  <a:pt x="540509" y="207247"/>
                  <a:pt x="522928" y="225380"/>
                </a:cubicBezTo>
                <a:lnTo>
                  <a:pt x="522928" y="225380"/>
                </a:lnTo>
                <a:cubicBezTo>
                  <a:pt x="504794" y="242961"/>
                  <a:pt x="480044" y="253667"/>
                  <a:pt x="452794" y="253667"/>
                </a:cubicBezTo>
                <a:cubicBezTo>
                  <a:pt x="434191" y="253667"/>
                  <a:pt x="416753" y="248677"/>
                  <a:pt x="401964" y="239586"/>
                </a:cubicBezTo>
                <a:cubicBezTo>
                  <a:pt x="397891" y="256466"/>
                  <a:pt x="389084" y="272342"/>
                  <a:pt x="375917" y="285509"/>
                </a:cubicBezTo>
                <a:cubicBezTo>
                  <a:pt x="356649" y="304778"/>
                  <a:pt x="331578" y="314709"/>
                  <a:pt x="306324" y="315100"/>
                </a:cubicBezTo>
                <a:lnTo>
                  <a:pt x="306324" y="315100"/>
                </a:lnTo>
                <a:cubicBezTo>
                  <a:pt x="281070" y="314709"/>
                  <a:pt x="255999" y="304778"/>
                  <a:pt x="236731" y="285509"/>
                </a:cubicBezTo>
                <a:cubicBezTo>
                  <a:pt x="223571" y="272349"/>
                  <a:pt x="214766" y="256482"/>
                  <a:pt x="210610" y="239626"/>
                </a:cubicBezTo>
                <a:cubicBezTo>
                  <a:pt x="195839" y="248693"/>
                  <a:pt x="178427" y="253666"/>
                  <a:pt x="159854" y="253666"/>
                </a:cubicBezTo>
                <a:cubicBezTo>
                  <a:pt x="132604" y="253666"/>
                  <a:pt x="107854" y="242961"/>
                  <a:pt x="89720" y="225380"/>
                </a:cubicBezTo>
                <a:lnTo>
                  <a:pt x="89720" y="225380"/>
                </a:lnTo>
                <a:cubicBezTo>
                  <a:pt x="72140" y="207247"/>
                  <a:pt x="61434" y="182497"/>
                  <a:pt x="61434" y="155247"/>
                </a:cubicBezTo>
                <a:cubicBezTo>
                  <a:pt x="61434" y="136673"/>
                  <a:pt x="66408" y="119262"/>
                  <a:pt x="75474" y="104490"/>
                </a:cubicBezTo>
                <a:cubicBezTo>
                  <a:pt x="58618" y="100334"/>
                  <a:pt x="42751" y="91530"/>
                  <a:pt x="29591" y="78369"/>
                </a:cubicBezTo>
                <a:cubicBezTo>
                  <a:pt x="10322" y="59101"/>
                  <a:pt x="391" y="34030"/>
                  <a:pt x="0" y="8776"/>
                </a:cubicBezTo>
                <a:lnTo>
                  <a:pt x="0" y="8776"/>
                </a:lnTo>
                <a:lnTo>
                  <a:pt x="1828" y="0"/>
                </a:lnTo>
                <a:lnTo>
                  <a:pt x="13374" y="0"/>
                </a:lnTo>
                <a:cubicBezTo>
                  <a:pt x="11782" y="2802"/>
                  <a:pt x="11567" y="5771"/>
                  <a:pt x="11501" y="8744"/>
                </a:cubicBezTo>
                <a:lnTo>
                  <a:pt x="96667" y="8744"/>
                </a:lnTo>
                <a:lnTo>
                  <a:pt x="96667" y="8808"/>
                </a:lnTo>
                <a:lnTo>
                  <a:pt x="11501" y="8808"/>
                </a:lnTo>
                <a:cubicBezTo>
                  <a:pt x="11990" y="30964"/>
                  <a:pt x="20815" y="52893"/>
                  <a:pt x="37722" y="69800"/>
                </a:cubicBezTo>
                <a:cubicBezTo>
                  <a:pt x="50477" y="82555"/>
                  <a:pt x="66091" y="90711"/>
                  <a:pt x="82592" y="93753"/>
                </a:cubicBezTo>
                <a:cubicBezTo>
                  <a:pt x="100880" y="69151"/>
                  <a:pt x="130228" y="53433"/>
                  <a:pt x="163247" y="53433"/>
                </a:cubicBezTo>
                <a:cubicBezTo>
                  <a:pt x="186137" y="53872"/>
                  <a:pt x="201262" y="50984"/>
                  <a:pt x="211355" y="39116"/>
                </a:cubicBezTo>
                <a:cubicBezTo>
                  <a:pt x="212796" y="37420"/>
                  <a:pt x="214135" y="35542"/>
                  <a:pt x="215380" y="33463"/>
                </a:cubicBezTo>
                <a:lnTo>
                  <a:pt x="215236" y="0"/>
                </a:lnTo>
                <a:lnTo>
                  <a:pt x="223507" y="0"/>
                </a:lnTo>
                <a:cubicBezTo>
                  <a:pt x="219688" y="24354"/>
                  <a:pt x="227777" y="49750"/>
                  <a:pt x="246535" y="68520"/>
                </a:cubicBezTo>
                <a:lnTo>
                  <a:pt x="254763" y="60293"/>
                </a:lnTo>
                <a:cubicBezTo>
                  <a:pt x="254771" y="60299"/>
                  <a:pt x="254778" y="60307"/>
                  <a:pt x="254786" y="60315"/>
                </a:cubicBezTo>
                <a:lnTo>
                  <a:pt x="254808" y="60338"/>
                </a:lnTo>
                <a:lnTo>
                  <a:pt x="246580" y="68565"/>
                </a:lnTo>
                <a:cubicBezTo>
                  <a:pt x="279582" y="101547"/>
                  <a:pt x="333066" y="101547"/>
                  <a:pt x="366068" y="68565"/>
                </a:cubicBezTo>
                <a:lnTo>
                  <a:pt x="357840" y="60338"/>
                </a:lnTo>
                <a:cubicBezTo>
                  <a:pt x="357847" y="60330"/>
                  <a:pt x="357855" y="60322"/>
                  <a:pt x="357862" y="60315"/>
                </a:cubicBezTo>
                <a:lnTo>
                  <a:pt x="357885" y="60293"/>
                </a:lnTo>
                <a:lnTo>
                  <a:pt x="366113" y="68520"/>
                </a:lnTo>
                <a:cubicBezTo>
                  <a:pt x="384871" y="49750"/>
                  <a:pt x="392961" y="24354"/>
                  <a:pt x="389142" y="0"/>
                </a:cubicBezTo>
                <a:lnTo>
                  <a:pt x="397337" y="0"/>
                </a:lnTo>
                <a:cubicBezTo>
                  <a:pt x="401479" y="11094"/>
                  <a:pt x="400548" y="22668"/>
                  <a:pt x="397481" y="33790"/>
                </a:cubicBezTo>
                <a:cubicBezTo>
                  <a:pt x="407439" y="50142"/>
                  <a:pt x="423417" y="53932"/>
                  <a:pt x="449401" y="53433"/>
                </a:cubicBezTo>
                <a:cubicBezTo>
                  <a:pt x="482407" y="53434"/>
                  <a:pt x="511746" y="69140"/>
                  <a:pt x="530035" y="93727"/>
                </a:cubicBezTo>
                <a:cubicBezTo>
                  <a:pt x="546543" y="90718"/>
                  <a:pt x="562165" y="82561"/>
                  <a:pt x="574926" y="69800"/>
                </a:cubicBezTo>
                <a:cubicBezTo>
                  <a:pt x="591833" y="52893"/>
                  <a:pt x="600659" y="30964"/>
                  <a:pt x="601147" y="8808"/>
                </a:cubicBezTo>
                <a:lnTo>
                  <a:pt x="515982" y="8808"/>
                </a:lnTo>
                <a:lnTo>
                  <a:pt x="515981" y="8744"/>
                </a:lnTo>
                <a:lnTo>
                  <a:pt x="601147" y="8744"/>
                </a:lnTo>
                <a:lnTo>
                  <a:pt x="599274" y="0"/>
                </a:lnTo>
                <a:lnTo>
                  <a:pt x="610820" y="0"/>
                </a:lnTo>
                <a:cubicBezTo>
                  <a:pt x="612423" y="2826"/>
                  <a:pt x="612602" y="5800"/>
                  <a:pt x="612648" y="8776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5" name="Oval 1774"/>
          <p:cNvSpPr/>
          <p:nvPr/>
        </p:nvSpPr>
        <p:spPr>
          <a:xfrm>
            <a:off x="28309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76" name="Teardrop 3"/>
          <p:cNvSpPr/>
          <p:nvPr/>
        </p:nvSpPr>
        <p:spPr>
          <a:xfrm rot="5400000" flipH="1" flipV="1">
            <a:off x="104064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7" name="Teardrop 3"/>
          <p:cNvSpPr/>
          <p:nvPr/>
        </p:nvSpPr>
        <p:spPr>
          <a:xfrm rot="5400000" flipH="1" flipV="1">
            <a:off x="167255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8" name="Teardrop 3"/>
          <p:cNvSpPr/>
          <p:nvPr/>
        </p:nvSpPr>
        <p:spPr>
          <a:xfrm rot="5400000" flipH="1" flipV="1">
            <a:off x="230445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9" name="Teardrop 3"/>
          <p:cNvSpPr/>
          <p:nvPr/>
        </p:nvSpPr>
        <p:spPr>
          <a:xfrm rot="5400000" flipH="1" flipV="1">
            <a:off x="293636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0" name="Teardrop 3"/>
          <p:cNvSpPr/>
          <p:nvPr/>
        </p:nvSpPr>
        <p:spPr>
          <a:xfrm rot="5400000" flipH="1" flipV="1">
            <a:off x="356826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1" name="Teardrop 3"/>
          <p:cNvSpPr/>
          <p:nvPr/>
        </p:nvSpPr>
        <p:spPr>
          <a:xfrm rot="5400000" flipH="1" flipV="1">
            <a:off x="420017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2" name="Oval 1781"/>
          <p:cNvSpPr/>
          <p:nvPr/>
        </p:nvSpPr>
        <p:spPr>
          <a:xfrm>
            <a:off x="91525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83" name="Oval 1782"/>
          <p:cNvSpPr/>
          <p:nvPr/>
        </p:nvSpPr>
        <p:spPr>
          <a:xfrm>
            <a:off x="154741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84" name="Oval 1783"/>
          <p:cNvSpPr/>
          <p:nvPr/>
        </p:nvSpPr>
        <p:spPr>
          <a:xfrm>
            <a:off x="217957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85" name="Oval 1784"/>
          <p:cNvSpPr/>
          <p:nvPr/>
        </p:nvSpPr>
        <p:spPr>
          <a:xfrm>
            <a:off x="281173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86" name="Oval 1785"/>
          <p:cNvSpPr/>
          <p:nvPr/>
        </p:nvSpPr>
        <p:spPr>
          <a:xfrm>
            <a:off x="344389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87" name="Oval 1786"/>
          <p:cNvSpPr/>
          <p:nvPr/>
        </p:nvSpPr>
        <p:spPr>
          <a:xfrm>
            <a:off x="407605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88" name="Oval 1787"/>
          <p:cNvSpPr/>
          <p:nvPr/>
        </p:nvSpPr>
        <p:spPr>
          <a:xfrm>
            <a:off x="470821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89" name="Teardrop 3"/>
          <p:cNvSpPr/>
          <p:nvPr/>
        </p:nvSpPr>
        <p:spPr>
          <a:xfrm rot="5400000" flipH="1" flipV="1">
            <a:off x="609588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0" name="Oval 1789"/>
          <p:cNvSpPr/>
          <p:nvPr/>
        </p:nvSpPr>
        <p:spPr>
          <a:xfrm>
            <a:off x="660469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91" name="Teardrop 3"/>
          <p:cNvSpPr/>
          <p:nvPr/>
        </p:nvSpPr>
        <p:spPr>
          <a:xfrm rot="5400000" flipH="1" flipV="1">
            <a:off x="546398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2" name="Oval 1791"/>
          <p:cNvSpPr/>
          <p:nvPr/>
        </p:nvSpPr>
        <p:spPr>
          <a:xfrm>
            <a:off x="597253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93" name="Teardrop 3"/>
          <p:cNvSpPr/>
          <p:nvPr/>
        </p:nvSpPr>
        <p:spPr>
          <a:xfrm rot="5400000" flipH="1" flipV="1">
            <a:off x="735969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4" name="Oval 1793"/>
          <p:cNvSpPr/>
          <p:nvPr/>
        </p:nvSpPr>
        <p:spPr>
          <a:xfrm>
            <a:off x="786901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95" name="Teardrop 3"/>
          <p:cNvSpPr/>
          <p:nvPr/>
        </p:nvSpPr>
        <p:spPr>
          <a:xfrm rot="5400000" flipH="1" flipV="1">
            <a:off x="672779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6" name="Oval 1795"/>
          <p:cNvSpPr/>
          <p:nvPr/>
        </p:nvSpPr>
        <p:spPr>
          <a:xfrm>
            <a:off x="723685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797" name="Teardrop 3"/>
          <p:cNvSpPr/>
          <p:nvPr/>
        </p:nvSpPr>
        <p:spPr>
          <a:xfrm rot="5400000" flipH="1" flipV="1">
            <a:off x="8623508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8" name="Teardrop 3"/>
          <p:cNvSpPr/>
          <p:nvPr/>
        </p:nvSpPr>
        <p:spPr>
          <a:xfrm rot="5400000" flipH="1" flipV="1">
            <a:off x="799160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9" name="Oval 1798"/>
          <p:cNvSpPr/>
          <p:nvPr/>
        </p:nvSpPr>
        <p:spPr>
          <a:xfrm>
            <a:off x="850117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00" name="Teardrop 3"/>
          <p:cNvSpPr/>
          <p:nvPr/>
        </p:nvSpPr>
        <p:spPr>
          <a:xfrm rot="5400000" flipH="1" flipV="1">
            <a:off x="40874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1" name="Oval 1800"/>
          <p:cNvSpPr/>
          <p:nvPr/>
        </p:nvSpPr>
        <p:spPr>
          <a:xfrm>
            <a:off x="499838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2" name="Oval 1801"/>
          <p:cNvSpPr/>
          <p:nvPr/>
        </p:nvSpPr>
        <p:spPr>
          <a:xfrm>
            <a:off x="57504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3" name="Oval 1802"/>
          <p:cNvSpPr/>
          <p:nvPr/>
        </p:nvSpPr>
        <p:spPr>
          <a:xfrm>
            <a:off x="120695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4" name="Oval 1803"/>
          <p:cNvSpPr/>
          <p:nvPr/>
        </p:nvSpPr>
        <p:spPr>
          <a:xfrm>
            <a:off x="183885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5" name="Oval 1804"/>
          <p:cNvSpPr/>
          <p:nvPr/>
        </p:nvSpPr>
        <p:spPr>
          <a:xfrm>
            <a:off x="247076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6" name="Oval 1805"/>
          <p:cNvSpPr/>
          <p:nvPr/>
        </p:nvSpPr>
        <p:spPr>
          <a:xfrm>
            <a:off x="310266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7" name="Oval 1806"/>
          <p:cNvSpPr/>
          <p:nvPr/>
        </p:nvSpPr>
        <p:spPr>
          <a:xfrm>
            <a:off x="373457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8" name="Oval 1807"/>
          <p:cNvSpPr/>
          <p:nvPr/>
        </p:nvSpPr>
        <p:spPr>
          <a:xfrm>
            <a:off x="436647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9" name="Oval 1808"/>
          <p:cNvSpPr/>
          <p:nvPr/>
        </p:nvSpPr>
        <p:spPr>
          <a:xfrm>
            <a:off x="626219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0" name="Oval 1809"/>
          <p:cNvSpPr/>
          <p:nvPr/>
        </p:nvSpPr>
        <p:spPr>
          <a:xfrm>
            <a:off x="563028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1" name="Oval 1810"/>
          <p:cNvSpPr/>
          <p:nvPr/>
        </p:nvSpPr>
        <p:spPr>
          <a:xfrm>
            <a:off x="752600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2" name="Oval 1811"/>
          <p:cNvSpPr/>
          <p:nvPr/>
        </p:nvSpPr>
        <p:spPr>
          <a:xfrm>
            <a:off x="689409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3" name="Oval 1812"/>
          <p:cNvSpPr/>
          <p:nvPr/>
        </p:nvSpPr>
        <p:spPr>
          <a:xfrm>
            <a:off x="8789813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4" name="Oval 1813"/>
          <p:cNvSpPr/>
          <p:nvPr/>
        </p:nvSpPr>
        <p:spPr>
          <a:xfrm>
            <a:off x="815790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5" name="Teardrop 3"/>
          <p:cNvSpPr/>
          <p:nvPr/>
        </p:nvSpPr>
        <p:spPr>
          <a:xfrm rot="5400000" flipH="1" flipV="1">
            <a:off x="4515886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6" name="Teardrop 3"/>
          <p:cNvSpPr/>
          <p:nvPr/>
        </p:nvSpPr>
        <p:spPr>
          <a:xfrm rot="5400000" flipH="1" flipV="1">
            <a:off x="724457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7" name="Teardrop 3"/>
          <p:cNvSpPr/>
          <p:nvPr/>
        </p:nvSpPr>
        <p:spPr>
          <a:xfrm rot="5400000" flipH="1" flipV="1">
            <a:off x="135636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8" name="Teardrop 3"/>
          <p:cNvSpPr/>
          <p:nvPr/>
        </p:nvSpPr>
        <p:spPr>
          <a:xfrm rot="5400000" flipH="1" flipV="1">
            <a:off x="1988267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9" name="Teardrop 3"/>
          <p:cNvSpPr/>
          <p:nvPr/>
        </p:nvSpPr>
        <p:spPr>
          <a:xfrm rot="5400000" flipH="1" flipV="1">
            <a:off x="262017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0" name="Teardrop 3"/>
          <p:cNvSpPr/>
          <p:nvPr/>
        </p:nvSpPr>
        <p:spPr>
          <a:xfrm rot="5400000" flipH="1" flipV="1">
            <a:off x="3252077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1" name="Teardrop 3"/>
          <p:cNvSpPr/>
          <p:nvPr/>
        </p:nvSpPr>
        <p:spPr>
          <a:xfrm rot="5400000" flipH="1" flipV="1">
            <a:off x="388398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2" name="Teardrop 3"/>
          <p:cNvSpPr/>
          <p:nvPr/>
        </p:nvSpPr>
        <p:spPr>
          <a:xfrm rot="5400000" flipH="1" flipV="1">
            <a:off x="5779697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3" name="Teardrop 3"/>
          <p:cNvSpPr/>
          <p:nvPr/>
        </p:nvSpPr>
        <p:spPr>
          <a:xfrm rot="5400000" flipH="1" flipV="1">
            <a:off x="514779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4" name="Teardrop 3"/>
          <p:cNvSpPr/>
          <p:nvPr/>
        </p:nvSpPr>
        <p:spPr>
          <a:xfrm rot="5400000" flipH="1" flipV="1">
            <a:off x="7043507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5" name="Teardrop 3"/>
          <p:cNvSpPr/>
          <p:nvPr/>
        </p:nvSpPr>
        <p:spPr>
          <a:xfrm rot="5400000" flipH="1" flipV="1">
            <a:off x="641160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6" name="Teardrop 3"/>
          <p:cNvSpPr/>
          <p:nvPr/>
        </p:nvSpPr>
        <p:spPr>
          <a:xfrm rot="5400000" flipH="1" flipV="1">
            <a:off x="8307316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7" name="Teardrop 3"/>
          <p:cNvSpPr/>
          <p:nvPr/>
        </p:nvSpPr>
        <p:spPr>
          <a:xfrm rot="5400000" flipH="1" flipV="1">
            <a:off x="767541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8" name="Teardrop 3"/>
          <p:cNvSpPr/>
          <p:nvPr/>
        </p:nvSpPr>
        <p:spPr>
          <a:xfrm rot="5400000" flipH="1" flipV="1">
            <a:off x="9255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9" name="Teardrop 3"/>
          <p:cNvSpPr/>
          <p:nvPr/>
        </p:nvSpPr>
        <p:spPr>
          <a:xfrm rot="5400000" flipH="1" flipV="1">
            <a:off x="8820002" y="1780255"/>
            <a:ext cx="446835" cy="201161"/>
          </a:xfrm>
          <a:custGeom>
            <a:avLst/>
            <a:gdLst/>
            <a:ahLst/>
            <a:cxnLst/>
            <a:rect l="l" t="t" r="r" b="b"/>
            <a:pathLst>
              <a:path w="595780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7" y="250112"/>
                  <a:pt x="155376" y="250112"/>
                </a:cubicBezTo>
                <a:cubicBezTo>
                  <a:pt x="174454" y="249746"/>
                  <a:pt x="198601" y="254980"/>
                  <a:pt x="211458" y="268141"/>
                </a:cubicBezTo>
                <a:cubicBezTo>
                  <a:pt x="215885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382868" y="82592"/>
                </a:moveTo>
                <a:cubicBezTo>
                  <a:pt x="379825" y="66091"/>
                  <a:pt x="371670" y="50477"/>
                  <a:pt x="358914" y="37722"/>
                </a:cubicBezTo>
                <a:cubicBezTo>
                  <a:pt x="342007" y="20815"/>
                  <a:pt x="320078" y="11989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4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6" y="100902"/>
                  <a:pt x="253233" y="130241"/>
                  <a:pt x="253233" y="163248"/>
                </a:cubicBezTo>
                <a:cubicBezTo>
                  <a:pt x="252735" y="189232"/>
                  <a:pt x="256525" y="205210"/>
                  <a:pt x="272877" y="215167"/>
                </a:cubicBezTo>
                <a:cubicBezTo>
                  <a:pt x="289126" y="210687"/>
                  <a:pt x="306340" y="210767"/>
                  <a:pt x="322577" y="215380"/>
                </a:cubicBezTo>
                <a:cubicBezTo>
                  <a:pt x="324655" y="214136"/>
                  <a:pt x="326534" y="212797"/>
                  <a:pt x="328229" y="211355"/>
                </a:cubicBezTo>
                <a:cubicBezTo>
                  <a:pt x="340097" y="201263"/>
                  <a:pt x="342986" y="186138"/>
                  <a:pt x="342547" y="163248"/>
                </a:cubicBezTo>
                <a:cubicBezTo>
                  <a:pt x="342547" y="130228"/>
                  <a:pt x="358265" y="100880"/>
                  <a:pt x="382868" y="82592"/>
                </a:cubicBezTo>
                <a:close/>
                <a:moveTo>
                  <a:pt x="506339" y="97830"/>
                </a:moveTo>
                <a:cubicBezTo>
                  <a:pt x="490327" y="82509"/>
                  <a:pt x="468581" y="73244"/>
                  <a:pt x="444670" y="73244"/>
                </a:cubicBezTo>
                <a:cubicBezTo>
                  <a:pt x="394652" y="73244"/>
                  <a:pt x="354103" y="113792"/>
                  <a:pt x="354103" y="163811"/>
                </a:cubicBezTo>
                <a:cubicBezTo>
                  <a:pt x="354470" y="182914"/>
                  <a:pt x="349220" y="207099"/>
                  <a:pt x="336023" y="219944"/>
                </a:cubicBezTo>
                <a:cubicBezTo>
                  <a:pt x="346519" y="224314"/>
                  <a:pt x="356263" y="230867"/>
                  <a:pt x="364783" y="239386"/>
                </a:cubicBezTo>
                <a:close/>
                <a:moveTo>
                  <a:pt x="530971" y="159544"/>
                </a:moveTo>
                <a:cubicBezTo>
                  <a:pt x="530971" y="135634"/>
                  <a:pt x="521705" y="113887"/>
                  <a:pt x="506384" y="97876"/>
                </a:cubicBezTo>
                <a:lnTo>
                  <a:pt x="364828" y="239431"/>
                </a:lnTo>
                <a:cubicBezTo>
                  <a:pt x="373348" y="247952"/>
                  <a:pt x="379901" y="257695"/>
                  <a:pt x="384270" y="268192"/>
                </a:cubicBezTo>
                <a:cubicBezTo>
                  <a:pt x="397115" y="254994"/>
                  <a:pt x="421300" y="249745"/>
                  <a:pt x="440404" y="250111"/>
                </a:cubicBezTo>
                <a:cubicBezTo>
                  <a:pt x="465413" y="250112"/>
                  <a:pt x="488055" y="239974"/>
                  <a:pt x="504444" y="223585"/>
                </a:cubicBezTo>
                <a:cubicBezTo>
                  <a:pt x="520834" y="207196"/>
                  <a:pt x="530971" y="184554"/>
                  <a:pt x="530971" y="159544"/>
                </a:cubicBezTo>
                <a:close/>
                <a:moveTo>
                  <a:pt x="595780" y="268215"/>
                </a:moveTo>
                <a:lnTo>
                  <a:pt x="581969" y="268215"/>
                </a:lnTo>
                <a:cubicBezTo>
                  <a:pt x="578743" y="259654"/>
                  <a:pt x="573266" y="252074"/>
                  <a:pt x="566492" y="245300"/>
                </a:cubicBezTo>
                <a:cubicBezTo>
                  <a:pt x="553737" y="232545"/>
                  <a:pt x="538123" y="224389"/>
                  <a:pt x="521623" y="221347"/>
                </a:cubicBezTo>
                <a:cubicBezTo>
                  <a:pt x="519174" y="225205"/>
                  <a:pt x="516174" y="228633"/>
                  <a:pt x="512960" y="231847"/>
                </a:cubicBezTo>
                <a:cubicBezTo>
                  <a:pt x="494535" y="250272"/>
                  <a:pt x="469082" y="261667"/>
                  <a:pt x="440967" y="261667"/>
                </a:cubicBezTo>
                <a:cubicBezTo>
                  <a:pt x="425629" y="261373"/>
                  <a:pt x="413777" y="262574"/>
                  <a:pt x="405186" y="268215"/>
                </a:cubicBezTo>
                <a:lnTo>
                  <a:pt x="372038" y="268215"/>
                </a:lnTo>
                <a:cubicBezTo>
                  <a:pt x="369178" y="260078"/>
                  <a:pt x="364042" y="252948"/>
                  <a:pt x="357679" y="246581"/>
                </a:cubicBezTo>
                <a:lnTo>
                  <a:pt x="349451" y="254808"/>
                </a:lnTo>
                <a:lnTo>
                  <a:pt x="349428" y="254786"/>
                </a:lnTo>
                <a:cubicBezTo>
                  <a:pt x="349421" y="254779"/>
                  <a:pt x="349413" y="254771"/>
                  <a:pt x="349406" y="254763"/>
                </a:cubicBezTo>
                <a:lnTo>
                  <a:pt x="357634" y="246536"/>
                </a:lnTo>
                <a:cubicBezTo>
                  <a:pt x="324632" y="213554"/>
                  <a:pt x="271148" y="213554"/>
                  <a:pt x="238147" y="246536"/>
                </a:cubicBezTo>
                <a:lnTo>
                  <a:pt x="246374" y="254763"/>
                </a:lnTo>
                <a:cubicBezTo>
                  <a:pt x="246367" y="254771"/>
                  <a:pt x="246359" y="254779"/>
                  <a:pt x="246352" y="254786"/>
                </a:cubicBezTo>
                <a:cubicBezTo>
                  <a:pt x="246344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70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8" y="221373"/>
                </a:cubicBezTo>
                <a:cubicBezTo>
                  <a:pt x="57671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89" y="195895"/>
                  <a:pt x="53000" y="178457"/>
                  <a:pt x="53000" y="159854"/>
                </a:cubicBezTo>
                <a:cubicBezTo>
                  <a:pt x="53000" y="132604"/>
                  <a:pt x="63706" y="107854"/>
                  <a:pt x="81286" y="89721"/>
                </a:cubicBezTo>
                <a:lnTo>
                  <a:pt x="81286" y="89721"/>
                </a:ln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30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lnTo>
                  <a:pt x="297890" y="0"/>
                </a:lnTo>
                <a:cubicBezTo>
                  <a:pt x="323144" y="391"/>
                  <a:pt x="348215" y="10322"/>
                  <a:pt x="367484" y="29591"/>
                </a:cubicBezTo>
                <a:cubicBezTo>
                  <a:pt x="380644" y="42751"/>
                  <a:pt x="389448" y="58618"/>
                  <a:pt x="393604" y="75474"/>
                </a:cubicBezTo>
                <a:cubicBezTo>
                  <a:pt x="408376" y="66408"/>
                  <a:pt x="425787" y="61434"/>
                  <a:pt x="444360" y="61434"/>
                </a:cubicBezTo>
                <a:cubicBezTo>
                  <a:pt x="471611" y="61434"/>
                  <a:pt x="496360" y="72140"/>
                  <a:pt x="514494" y="89721"/>
                </a:cubicBezTo>
                <a:cubicBezTo>
                  <a:pt x="532075" y="107854"/>
                  <a:pt x="542780" y="132604"/>
                  <a:pt x="542780" y="159854"/>
                </a:cubicBezTo>
                <a:cubicBezTo>
                  <a:pt x="542780" y="178427"/>
                  <a:pt x="537807" y="195839"/>
                  <a:pt x="528740" y="210610"/>
                </a:cubicBezTo>
                <a:cubicBezTo>
                  <a:pt x="545596" y="214766"/>
                  <a:pt x="561463" y="223570"/>
                  <a:pt x="574624" y="2367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0" name="Oval 1829"/>
          <p:cNvSpPr/>
          <p:nvPr/>
        </p:nvSpPr>
        <p:spPr>
          <a:xfrm>
            <a:off x="531499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1" name="Oval 1830"/>
          <p:cNvSpPr/>
          <p:nvPr/>
        </p:nvSpPr>
        <p:spPr>
          <a:xfrm>
            <a:off x="25975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2" name="Oval 1831"/>
          <p:cNvSpPr/>
          <p:nvPr/>
        </p:nvSpPr>
        <p:spPr>
          <a:xfrm>
            <a:off x="89165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3" name="Oval 1832"/>
          <p:cNvSpPr/>
          <p:nvPr/>
        </p:nvSpPr>
        <p:spPr>
          <a:xfrm>
            <a:off x="152356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4" name="Oval 1833"/>
          <p:cNvSpPr/>
          <p:nvPr/>
        </p:nvSpPr>
        <p:spPr>
          <a:xfrm>
            <a:off x="215546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5" name="Oval 1834"/>
          <p:cNvSpPr/>
          <p:nvPr/>
        </p:nvSpPr>
        <p:spPr>
          <a:xfrm>
            <a:off x="278737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6" name="Oval 1835"/>
          <p:cNvSpPr/>
          <p:nvPr/>
        </p:nvSpPr>
        <p:spPr>
          <a:xfrm>
            <a:off x="341927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7" name="Oval 1836"/>
          <p:cNvSpPr/>
          <p:nvPr/>
        </p:nvSpPr>
        <p:spPr>
          <a:xfrm>
            <a:off x="405118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8" name="Oval 1837"/>
          <p:cNvSpPr/>
          <p:nvPr/>
        </p:nvSpPr>
        <p:spPr>
          <a:xfrm>
            <a:off x="468308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9" name="Oval 1838"/>
          <p:cNvSpPr/>
          <p:nvPr/>
        </p:nvSpPr>
        <p:spPr>
          <a:xfrm>
            <a:off x="657880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0" name="Oval 1839"/>
          <p:cNvSpPr/>
          <p:nvPr/>
        </p:nvSpPr>
        <p:spPr>
          <a:xfrm>
            <a:off x="594689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1" name="Oval 1840"/>
          <p:cNvSpPr/>
          <p:nvPr/>
        </p:nvSpPr>
        <p:spPr>
          <a:xfrm>
            <a:off x="784261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2" name="Oval 1841"/>
          <p:cNvSpPr/>
          <p:nvPr/>
        </p:nvSpPr>
        <p:spPr>
          <a:xfrm>
            <a:off x="721070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3" name="Oval 1842"/>
          <p:cNvSpPr/>
          <p:nvPr/>
        </p:nvSpPr>
        <p:spPr>
          <a:xfrm>
            <a:off x="847451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4" name="Teardrop 3"/>
          <p:cNvSpPr/>
          <p:nvPr/>
        </p:nvSpPr>
        <p:spPr>
          <a:xfrm rot="5400000" flipH="1" flipV="1">
            <a:off x="483207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5" name="Oval 1844"/>
          <p:cNvSpPr/>
          <p:nvPr/>
        </p:nvSpPr>
        <p:spPr>
          <a:xfrm>
            <a:off x="534037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46" name="Teardrop 3"/>
          <p:cNvSpPr/>
          <p:nvPr/>
        </p:nvSpPr>
        <p:spPr>
          <a:xfrm rot="5400000" flipH="1" flipV="1">
            <a:off x="-111581" y="2096312"/>
            <a:ext cx="459486" cy="236325"/>
          </a:xfrm>
          <a:custGeom>
            <a:avLst/>
            <a:gdLst/>
            <a:ahLst/>
            <a:cxnLst/>
            <a:rect l="l" t="t" r="r" b="b"/>
            <a:pathLst>
              <a:path w="612648" h="315100">
                <a:moveTo>
                  <a:pt x="239386" y="75670"/>
                </a:moveTo>
                <a:cubicBezTo>
                  <a:pt x="230866" y="67149"/>
                  <a:pt x="224313" y="57406"/>
                  <a:pt x="219944" y="46909"/>
                </a:cubicBezTo>
                <a:cubicBezTo>
                  <a:pt x="207099" y="60107"/>
                  <a:pt x="182914" y="65356"/>
                  <a:pt x="163810" y="64989"/>
                </a:cubicBezTo>
                <a:cubicBezTo>
                  <a:pt x="113792" y="64989"/>
                  <a:pt x="73243" y="105538"/>
                  <a:pt x="73243" y="155556"/>
                </a:cubicBezTo>
                <a:cubicBezTo>
                  <a:pt x="73243" y="179467"/>
                  <a:pt x="82509" y="201213"/>
                  <a:pt x="97830" y="217225"/>
                </a:cubicBezTo>
                <a:close/>
                <a:moveTo>
                  <a:pt x="268191" y="95157"/>
                </a:moveTo>
                <a:cubicBezTo>
                  <a:pt x="257695" y="90787"/>
                  <a:pt x="247952" y="84234"/>
                  <a:pt x="239431" y="75715"/>
                </a:cubicBezTo>
                <a:lnTo>
                  <a:pt x="97875" y="217270"/>
                </a:lnTo>
                <a:cubicBezTo>
                  <a:pt x="113887" y="232591"/>
                  <a:pt x="135634" y="241857"/>
                  <a:pt x="159544" y="241857"/>
                </a:cubicBezTo>
                <a:cubicBezTo>
                  <a:pt x="184553" y="241857"/>
                  <a:pt x="207195" y="231720"/>
                  <a:pt x="223585" y="215331"/>
                </a:cubicBezTo>
                <a:cubicBezTo>
                  <a:pt x="239974" y="198941"/>
                  <a:pt x="250111" y="176299"/>
                  <a:pt x="250111" y="151290"/>
                </a:cubicBezTo>
                <a:cubicBezTo>
                  <a:pt x="249745" y="132187"/>
                  <a:pt x="254994" y="108002"/>
                  <a:pt x="268191" y="95157"/>
                </a:cubicBezTo>
                <a:close/>
                <a:moveTo>
                  <a:pt x="391275" y="232488"/>
                </a:moveTo>
                <a:cubicBezTo>
                  <a:pt x="366688" y="214199"/>
                  <a:pt x="350981" y="184860"/>
                  <a:pt x="350981" y="151853"/>
                </a:cubicBezTo>
                <a:cubicBezTo>
                  <a:pt x="351479" y="125869"/>
                  <a:pt x="347689" y="109892"/>
                  <a:pt x="331337" y="99934"/>
                </a:cubicBezTo>
                <a:cubicBezTo>
                  <a:pt x="315088" y="104415"/>
                  <a:pt x="297874" y="104335"/>
                  <a:pt x="281637" y="99721"/>
                </a:cubicBezTo>
                <a:cubicBezTo>
                  <a:pt x="265010" y="109675"/>
                  <a:pt x="261165" y="125694"/>
                  <a:pt x="261667" y="151853"/>
                </a:cubicBezTo>
                <a:cubicBezTo>
                  <a:pt x="261667" y="179968"/>
                  <a:pt x="250271" y="205421"/>
                  <a:pt x="231847" y="223846"/>
                </a:cubicBezTo>
                <a:lnTo>
                  <a:pt x="221347" y="232509"/>
                </a:lnTo>
                <a:cubicBezTo>
                  <a:pt x="224390" y="249009"/>
                  <a:pt x="232545" y="264623"/>
                  <a:pt x="245300" y="277378"/>
                </a:cubicBezTo>
                <a:cubicBezTo>
                  <a:pt x="262208" y="294285"/>
                  <a:pt x="284137" y="303111"/>
                  <a:pt x="306292" y="303599"/>
                </a:cubicBezTo>
                <a:lnTo>
                  <a:pt x="306292" y="218433"/>
                </a:lnTo>
                <a:lnTo>
                  <a:pt x="306356" y="218433"/>
                </a:lnTo>
                <a:lnTo>
                  <a:pt x="306356" y="303599"/>
                </a:lnTo>
                <a:cubicBezTo>
                  <a:pt x="328512" y="303110"/>
                  <a:pt x="350441" y="294285"/>
                  <a:pt x="367348" y="277378"/>
                </a:cubicBezTo>
                <a:cubicBezTo>
                  <a:pt x="380109" y="264617"/>
                  <a:pt x="388266" y="248996"/>
                  <a:pt x="391275" y="232488"/>
                </a:cubicBezTo>
                <a:close/>
                <a:moveTo>
                  <a:pt x="514773" y="217271"/>
                </a:moveTo>
                <a:lnTo>
                  <a:pt x="373218" y="75716"/>
                </a:lnTo>
                <a:cubicBezTo>
                  <a:pt x="364700" y="84231"/>
                  <a:pt x="354962" y="90781"/>
                  <a:pt x="344508" y="95209"/>
                </a:cubicBezTo>
                <a:cubicBezTo>
                  <a:pt x="357668" y="108066"/>
                  <a:pt x="362903" y="132212"/>
                  <a:pt x="362537" y="151290"/>
                </a:cubicBezTo>
                <a:cubicBezTo>
                  <a:pt x="362537" y="201309"/>
                  <a:pt x="403086" y="241857"/>
                  <a:pt x="453104" y="241857"/>
                </a:cubicBezTo>
                <a:cubicBezTo>
                  <a:pt x="477015" y="241857"/>
                  <a:pt x="498761" y="232592"/>
                  <a:pt x="514773" y="217271"/>
                </a:cubicBezTo>
                <a:close/>
                <a:moveTo>
                  <a:pt x="539405" y="155556"/>
                </a:moveTo>
                <a:cubicBezTo>
                  <a:pt x="539405" y="105538"/>
                  <a:pt x="498856" y="64989"/>
                  <a:pt x="448838" y="64989"/>
                </a:cubicBezTo>
                <a:cubicBezTo>
                  <a:pt x="429760" y="65355"/>
                  <a:pt x="405614" y="60121"/>
                  <a:pt x="392756" y="46961"/>
                </a:cubicBezTo>
                <a:cubicBezTo>
                  <a:pt x="388329" y="57415"/>
                  <a:pt x="381778" y="67153"/>
                  <a:pt x="373263" y="75671"/>
                </a:cubicBezTo>
                <a:lnTo>
                  <a:pt x="514818" y="217225"/>
                </a:lnTo>
                <a:cubicBezTo>
                  <a:pt x="530139" y="201213"/>
                  <a:pt x="539405" y="179467"/>
                  <a:pt x="539405" y="155556"/>
                </a:cubicBezTo>
                <a:close/>
                <a:moveTo>
                  <a:pt x="612648" y="8776"/>
                </a:moveTo>
                <a:cubicBezTo>
                  <a:pt x="612257" y="34030"/>
                  <a:pt x="602326" y="59101"/>
                  <a:pt x="583058" y="78369"/>
                </a:cubicBezTo>
                <a:cubicBezTo>
                  <a:pt x="569890" y="91537"/>
                  <a:pt x="554014" y="100343"/>
                  <a:pt x="537134" y="104416"/>
                </a:cubicBezTo>
                <a:cubicBezTo>
                  <a:pt x="546225" y="119205"/>
                  <a:pt x="551214" y="136643"/>
                  <a:pt x="551214" y="155247"/>
                </a:cubicBezTo>
                <a:cubicBezTo>
                  <a:pt x="551214" y="182497"/>
                  <a:pt x="540509" y="207247"/>
                  <a:pt x="522928" y="225380"/>
                </a:cubicBezTo>
                <a:lnTo>
                  <a:pt x="522928" y="225380"/>
                </a:lnTo>
                <a:cubicBezTo>
                  <a:pt x="504794" y="242961"/>
                  <a:pt x="480045" y="253667"/>
                  <a:pt x="452794" y="253667"/>
                </a:cubicBezTo>
                <a:cubicBezTo>
                  <a:pt x="434191" y="253667"/>
                  <a:pt x="416753" y="248677"/>
                  <a:pt x="401964" y="239586"/>
                </a:cubicBezTo>
                <a:cubicBezTo>
                  <a:pt x="397891" y="256466"/>
                  <a:pt x="389084" y="272342"/>
                  <a:pt x="375917" y="285509"/>
                </a:cubicBezTo>
                <a:cubicBezTo>
                  <a:pt x="356649" y="304778"/>
                  <a:pt x="331578" y="314709"/>
                  <a:pt x="306324" y="315100"/>
                </a:cubicBezTo>
                <a:lnTo>
                  <a:pt x="306324" y="315100"/>
                </a:lnTo>
                <a:cubicBezTo>
                  <a:pt x="281070" y="314709"/>
                  <a:pt x="255999" y="304778"/>
                  <a:pt x="236731" y="285509"/>
                </a:cubicBezTo>
                <a:cubicBezTo>
                  <a:pt x="223571" y="272349"/>
                  <a:pt x="214766" y="256482"/>
                  <a:pt x="210610" y="239626"/>
                </a:cubicBezTo>
                <a:cubicBezTo>
                  <a:pt x="195839" y="248693"/>
                  <a:pt x="178427" y="253666"/>
                  <a:pt x="159854" y="253666"/>
                </a:cubicBezTo>
                <a:cubicBezTo>
                  <a:pt x="132604" y="253666"/>
                  <a:pt x="107854" y="242961"/>
                  <a:pt x="89720" y="225380"/>
                </a:cubicBezTo>
                <a:lnTo>
                  <a:pt x="89720" y="225380"/>
                </a:lnTo>
                <a:cubicBezTo>
                  <a:pt x="72140" y="207247"/>
                  <a:pt x="61434" y="182497"/>
                  <a:pt x="61434" y="155247"/>
                </a:cubicBezTo>
                <a:cubicBezTo>
                  <a:pt x="61434" y="136673"/>
                  <a:pt x="66408" y="119262"/>
                  <a:pt x="75474" y="104490"/>
                </a:cubicBezTo>
                <a:cubicBezTo>
                  <a:pt x="58618" y="100334"/>
                  <a:pt x="42751" y="91530"/>
                  <a:pt x="29591" y="78369"/>
                </a:cubicBezTo>
                <a:cubicBezTo>
                  <a:pt x="10322" y="59101"/>
                  <a:pt x="391" y="34030"/>
                  <a:pt x="0" y="8776"/>
                </a:cubicBezTo>
                <a:lnTo>
                  <a:pt x="0" y="8776"/>
                </a:lnTo>
                <a:lnTo>
                  <a:pt x="1828" y="0"/>
                </a:lnTo>
                <a:lnTo>
                  <a:pt x="13374" y="0"/>
                </a:lnTo>
                <a:cubicBezTo>
                  <a:pt x="11782" y="2802"/>
                  <a:pt x="11567" y="5771"/>
                  <a:pt x="11501" y="8744"/>
                </a:cubicBezTo>
                <a:lnTo>
                  <a:pt x="96667" y="8744"/>
                </a:lnTo>
                <a:lnTo>
                  <a:pt x="96667" y="8808"/>
                </a:lnTo>
                <a:lnTo>
                  <a:pt x="11501" y="8808"/>
                </a:lnTo>
                <a:cubicBezTo>
                  <a:pt x="11990" y="30964"/>
                  <a:pt x="20815" y="52893"/>
                  <a:pt x="37722" y="69800"/>
                </a:cubicBezTo>
                <a:cubicBezTo>
                  <a:pt x="50477" y="82555"/>
                  <a:pt x="66091" y="90711"/>
                  <a:pt x="82592" y="93753"/>
                </a:cubicBezTo>
                <a:cubicBezTo>
                  <a:pt x="100880" y="69151"/>
                  <a:pt x="130228" y="53433"/>
                  <a:pt x="163247" y="53433"/>
                </a:cubicBezTo>
                <a:cubicBezTo>
                  <a:pt x="186137" y="53872"/>
                  <a:pt x="201262" y="50984"/>
                  <a:pt x="211355" y="39116"/>
                </a:cubicBezTo>
                <a:cubicBezTo>
                  <a:pt x="212796" y="37420"/>
                  <a:pt x="214135" y="35542"/>
                  <a:pt x="215380" y="33463"/>
                </a:cubicBezTo>
                <a:lnTo>
                  <a:pt x="215236" y="0"/>
                </a:lnTo>
                <a:lnTo>
                  <a:pt x="223507" y="0"/>
                </a:lnTo>
                <a:cubicBezTo>
                  <a:pt x="219688" y="24354"/>
                  <a:pt x="227777" y="49750"/>
                  <a:pt x="246535" y="68520"/>
                </a:cubicBezTo>
                <a:lnTo>
                  <a:pt x="254763" y="60293"/>
                </a:lnTo>
                <a:cubicBezTo>
                  <a:pt x="254771" y="60299"/>
                  <a:pt x="254778" y="60307"/>
                  <a:pt x="254786" y="60315"/>
                </a:cubicBezTo>
                <a:lnTo>
                  <a:pt x="254808" y="60338"/>
                </a:lnTo>
                <a:lnTo>
                  <a:pt x="246580" y="68565"/>
                </a:lnTo>
                <a:cubicBezTo>
                  <a:pt x="279582" y="101547"/>
                  <a:pt x="333066" y="101547"/>
                  <a:pt x="366068" y="68565"/>
                </a:cubicBezTo>
                <a:lnTo>
                  <a:pt x="357840" y="60338"/>
                </a:lnTo>
                <a:cubicBezTo>
                  <a:pt x="357847" y="60330"/>
                  <a:pt x="357855" y="60322"/>
                  <a:pt x="357862" y="60315"/>
                </a:cubicBezTo>
                <a:lnTo>
                  <a:pt x="357885" y="60293"/>
                </a:lnTo>
                <a:lnTo>
                  <a:pt x="366113" y="68520"/>
                </a:lnTo>
                <a:cubicBezTo>
                  <a:pt x="384872" y="49750"/>
                  <a:pt x="392961" y="24354"/>
                  <a:pt x="389142" y="0"/>
                </a:cubicBezTo>
                <a:lnTo>
                  <a:pt x="397337" y="0"/>
                </a:lnTo>
                <a:cubicBezTo>
                  <a:pt x="401479" y="11094"/>
                  <a:pt x="400548" y="22668"/>
                  <a:pt x="397481" y="33790"/>
                </a:cubicBezTo>
                <a:cubicBezTo>
                  <a:pt x="407439" y="50142"/>
                  <a:pt x="423417" y="53932"/>
                  <a:pt x="449401" y="53433"/>
                </a:cubicBezTo>
                <a:cubicBezTo>
                  <a:pt x="482408" y="53434"/>
                  <a:pt x="511746" y="69140"/>
                  <a:pt x="530035" y="93727"/>
                </a:cubicBezTo>
                <a:cubicBezTo>
                  <a:pt x="546543" y="90718"/>
                  <a:pt x="562165" y="82561"/>
                  <a:pt x="574926" y="69800"/>
                </a:cubicBezTo>
                <a:cubicBezTo>
                  <a:pt x="591833" y="52893"/>
                  <a:pt x="600659" y="30964"/>
                  <a:pt x="601147" y="8808"/>
                </a:cubicBezTo>
                <a:lnTo>
                  <a:pt x="515982" y="8808"/>
                </a:lnTo>
                <a:lnTo>
                  <a:pt x="515981" y="8744"/>
                </a:lnTo>
                <a:lnTo>
                  <a:pt x="601147" y="8744"/>
                </a:lnTo>
                <a:lnTo>
                  <a:pt x="599275" y="0"/>
                </a:lnTo>
                <a:lnTo>
                  <a:pt x="610820" y="0"/>
                </a:lnTo>
                <a:cubicBezTo>
                  <a:pt x="612423" y="2826"/>
                  <a:pt x="612602" y="5800"/>
                  <a:pt x="612648" y="8776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7" name="Oval 1846"/>
          <p:cNvSpPr/>
          <p:nvPr/>
        </p:nvSpPr>
        <p:spPr>
          <a:xfrm>
            <a:off x="28309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48" name="Teardrop 3"/>
          <p:cNvSpPr/>
          <p:nvPr/>
        </p:nvSpPr>
        <p:spPr>
          <a:xfrm rot="5400000" flipH="1" flipV="1">
            <a:off x="104064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9" name="Teardrop 3"/>
          <p:cNvSpPr/>
          <p:nvPr/>
        </p:nvSpPr>
        <p:spPr>
          <a:xfrm rot="5400000" flipH="1" flipV="1">
            <a:off x="167255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0" name="Teardrop 3"/>
          <p:cNvSpPr/>
          <p:nvPr/>
        </p:nvSpPr>
        <p:spPr>
          <a:xfrm rot="5400000" flipH="1" flipV="1">
            <a:off x="230445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1" name="Teardrop 3"/>
          <p:cNvSpPr/>
          <p:nvPr/>
        </p:nvSpPr>
        <p:spPr>
          <a:xfrm rot="5400000" flipH="1" flipV="1">
            <a:off x="293636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2" name="Teardrop 3"/>
          <p:cNvSpPr/>
          <p:nvPr/>
        </p:nvSpPr>
        <p:spPr>
          <a:xfrm rot="5400000" flipH="1" flipV="1">
            <a:off x="356826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3" name="Teardrop 3"/>
          <p:cNvSpPr/>
          <p:nvPr/>
        </p:nvSpPr>
        <p:spPr>
          <a:xfrm rot="5400000" flipH="1" flipV="1">
            <a:off x="420017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4" name="Oval 1853"/>
          <p:cNvSpPr/>
          <p:nvPr/>
        </p:nvSpPr>
        <p:spPr>
          <a:xfrm>
            <a:off x="91525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55" name="Oval 1854"/>
          <p:cNvSpPr/>
          <p:nvPr/>
        </p:nvSpPr>
        <p:spPr>
          <a:xfrm>
            <a:off x="154741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56" name="Oval 1855"/>
          <p:cNvSpPr/>
          <p:nvPr/>
        </p:nvSpPr>
        <p:spPr>
          <a:xfrm>
            <a:off x="217957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57" name="Oval 1856"/>
          <p:cNvSpPr/>
          <p:nvPr/>
        </p:nvSpPr>
        <p:spPr>
          <a:xfrm>
            <a:off x="281173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58" name="Oval 1857"/>
          <p:cNvSpPr/>
          <p:nvPr/>
        </p:nvSpPr>
        <p:spPr>
          <a:xfrm>
            <a:off x="344389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59" name="Oval 1858"/>
          <p:cNvSpPr/>
          <p:nvPr/>
        </p:nvSpPr>
        <p:spPr>
          <a:xfrm>
            <a:off x="407605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60" name="Oval 1859"/>
          <p:cNvSpPr/>
          <p:nvPr/>
        </p:nvSpPr>
        <p:spPr>
          <a:xfrm>
            <a:off x="470821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61" name="Teardrop 3"/>
          <p:cNvSpPr/>
          <p:nvPr/>
        </p:nvSpPr>
        <p:spPr>
          <a:xfrm rot="5400000" flipH="1" flipV="1">
            <a:off x="609588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2" name="Oval 1861"/>
          <p:cNvSpPr/>
          <p:nvPr/>
        </p:nvSpPr>
        <p:spPr>
          <a:xfrm>
            <a:off x="660469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63" name="Teardrop 3"/>
          <p:cNvSpPr/>
          <p:nvPr/>
        </p:nvSpPr>
        <p:spPr>
          <a:xfrm rot="5400000" flipH="1" flipV="1">
            <a:off x="546398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4" name="Oval 1863"/>
          <p:cNvSpPr/>
          <p:nvPr/>
        </p:nvSpPr>
        <p:spPr>
          <a:xfrm>
            <a:off x="597253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65" name="Teardrop 3"/>
          <p:cNvSpPr/>
          <p:nvPr/>
        </p:nvSpPr>
        <p:spPr>
          <a:xfrm rot="5400000" flipH="1" flipV="1">
            <a:off x="735969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6" name="Oval 1865"/>
          <p:cNvSpPr/>
          <p:nvPr/>
        </p:nvSpPr>
        <p:spPr>
          <a:xfrm>
            <a:off x="786901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67" name="Teardrop 3"/>
          <p:cNvSpPr/>
          <p:nvPr/>
        </p:nvSpPr>
        <p:spPr>
          <a:xfrm rot="5400000" flipH="1" flipV="1">
            <a:off x="672779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8" name="Oval 1867"/>
          <p:cNvSpPr/>
          <p:nvPr/>
        </p:nvSpPr>
        <p:spPr>
          <a:xfrm>
            <a:off x="723685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69" name="Teardrop 3"/>
          <p:cNvSpPr/>
          <p:nvPr/>
        </p:nvSpPr>
        <p:spPr>
          <a:xfrm rot="5400000" flipH="1" flipV="1">
            <a:off x="8623508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0" name="Teardrop 3"/>
          <p:cNvSpPr/>
          <p:nvPr/>
        </p:nvSpPr>
        <p:spPr>
          <a:xfrm rot="5400000" flipH="1" flipV="1">
            <a:off x="799160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1" name="Oval 1870"/>
          <p:cNvSpPr/>
          <p:nvPr/>
        </p:nvSpPr>
        <p:spPr>
          <a:xfrm>
            <a:off x="850117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872" name="Teardrop 3"/>
          <p:cNvSpPr/>
          <p:nvPr/>
        </p:nvSpPr>
        <p:spPr>
          <a:xfrm rot="5400000" flipH="1" flipV="1">
            <a:off x="40874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3" name="Oval 1872"/>
          <p:cNvSpPr/>
          <p:nvPr/>
        </p:nvSpPr>
        <p:spPr>
          <a:xfrm>
            <a:off x="499838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4" name="Oval 1873"/>
          <p:cNvSpPr/>
          <p:nvPr/>
        </p:nvSpPr>
        <p:spPr>
          <a:xfrm>
            <a:off x="57504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5" name="Oval 1874"/>
          <p:cNvSpPr/>
          <p:nvPr/>
        </p:nvSpPr>
        <p:spPr>
          <a:xfrm>
            <a:off x="120695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6" name="Oval 1875"/>
          <p:cNvSpPr/>
          <p:nvPr/>
        </p:nvSpPr>
        <p:spPr>
          <a:xfrm>
            <a:off x="183885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7" name="Oval 1876"/>
          <p:cNvSpPr/>
          <p:nvPr/>
        </p:nvSpPr>
        <p:spPr>
          <a:xfrm>
            <a:off x="247076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8" name="Oval 1877"/>
          <p:cNvSpPr/>
          <p:nvPr/>
        </p:nvSpPr>
        <p:spPr>
          <a:xfrm>
            <a:off x="310266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9" name="Oval 1878"/>
          <p:cNvSpPr/>
          <p:nvPr/>
        </p:nvSpPr>
        <p:spPr>
          <a:xfrm>
            <a:off x="373457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0" name="Oval 1879"/>
          <p:cNvSpPr/>
          <p:nvPr/>
        </p:nvSpPr>
        <p:spPr>
          <a:xfrm>
            <a:off x="436647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1" name="Oval 1880"/>
          <p:cNvSpPr/>
          <p:nvPr/>
        </p:nvSpPr>
        <p:spPr>
          <a:xfrm>
            <a:off x="626219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2" name="Oval 1881"/>
          <p:cNvSpPr/>
          <p:nvPr/>
        </p:nvSpPr>
        <p:spPr>
          <a:xfrm>
            <a:off x="563028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3" name="Oval 1882"/>
          <p:cNvSpPr/>
          <p:nvPr/>
        </p:nvSpPr>
        <p:spPr>
          <a:xfrm>
            <a:off x="752600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4" name="Oval 1883"/>
          <p:cNvSpPr/>
          <p:nvPr/>
        </p:nvSpPr>
        <p:spPr>
          <a:xfrm>
            <a:off x="689409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5" name="Oval 1884"/>
          <p:cNvSpPr/>
          <p:nvPr/>
        </p:nvSpPr>
        <p:spPr>
          <a:xfrm>
            <a:off x="8789813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6" name="Oval 1885"/>
          <p:cNvSpPr/>
          <p:nvPr/>
        </p:nvSpPr>
        <p:spPr>
          <a:xfrm>
            <a:off x="815790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7" name="Teardrop 3"/>
          <p:cNvSpPr/>
          <p:nvPr/>
        </p:nvSpPr>
        <p:spPr>
          <a:xfrm rot="5400000" flipH="1" flipV="1">
            <a:off x="4515886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8" name="Teardrop 3"/>
          <p:cNvSpPr/>
          <p:nvPr/>
        </p:nvSpPr>
        <p:spPr>
          <a:xfrm rot="5400000" flipH="1" flipV="1">
            <a:off x="724457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9" name="Teardrop 3"/>
          <p:cNvSpPr/>
          <p:nvPr/>
        </p:nvSpPr>
        <p:spPr>
          <a:xfrm rot="5400000" flipH="1" flipV="1">
            <a:off x="135636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0" name="Teardrop 3"/>
          <p:cNvSpPr/>
          <p:nvPr/>
        </p:nvSpPr>
        <p:spPr>
          <a:xfrm rot="5400000" flipH="1" flipV="1">
            <a:off x="1988267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1" name="Teardrop 3"/>
          <p:cNvSpPr/>
          <p:nvPr/>
        </p:nvSpPr>
        <p:spPr>
          <a:xfrm rot="5400000" flipH="1" flipV="1">
            <a:off x="262017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2" name="Teardrop 3"/>
          <p:cNvSpPr/>
          <p:nvPr/>
        </p:nvSpPr>
        <p:spPr>
          <a:xfrm rot="5400000" flipH="1" flipV="1">
            <a:off x="3252077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3" name="Teardrop 3"/>
          <p:cNvSpPr/>
          <p:nvPr/>
        </p:nvSpPr>
        <p:spPr>
          <a:xfrm rot="5400000" flipH="1" flipV="1">
            <a:off x="388398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4" name="Teardrop 3"/>
          <p:cNvSpPr/>
          <p:nvPr/>
        </p:nvSpPr>
        <p:spPr>
          <a:xfrm rot="5400000" flipH="1" flipV="1">
            <a:off x="5779697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5" name="Teardrop 3"/>
          <p:cNvSpPr/>
          <p:nvPr/>
        </p:nvSpPr>
        <p:spPr>
          <a:xfrm rot="5400000" flipH="1" flipV="1">
            <a:off x="514779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6" name="Teardrop 3"/>
          <p:cNvSpPr/>
          <p:nvPr/>
        </p:nvSpPr>
        <p:spPr>
          <a:xfrm rot="5400000" flipH="1" flipV="1">
            <a:off x="7043507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7" name="Teardrop 3"/>
          <p:cNvSpPr/>
          <p:nvPr/>
        </p:nvSpPr>
        <p:spPr>
          <a:xfrm rot="5400000" flipH="1" flipV="1">
            <a:off x="641160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8" name="Teardrop 3"/>
          <p:cNvSpPr/>
          <p:nvPr/>
        </p:nvSpPr>
        <p:spPr>
          <a:xfrm rot="5400000" flipH="1" flipV="1">
            <a:off x="8307316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9" name="Teardrop 3"/>
          <p:cNvSpPr/>
          <p:nvPr/>
        </p:nvSpPr>
        <p:spPr>
          <a:xfrm rot="5400000" flipH="1" flipV="1">
            <a:off x="767541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0" name="Teardrop 3"/>
          <p:cNvSpPr/>
          <p:nvPr/>
        </p:nvSpPr>
        <p:spPr>
          <a:xfrm rot="5400000" flipH="1" flipV="1">
            <a:off x="9255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1" name="Teardrop 3"/>
          <p:cNvSpPr/>
          <p:nvPr/>
        </p:nvSpPr>
        <p:spPr>
          <a:xfrm rot="5400000" flipH="1" flipV="1">
            <a:off x="8820002" y="2417948"/>
            <a:ext cx="446836" cy="201161"/>
          </a:xfrm>
          <a:custGeom>
            <a:avLst/>
            <a:gdLst/>
            <a:ahLst/>
            <a:cxnLst/>
            <a:rect l="l" t="t" r="r" b="b"/>
            <a:pathLst>
              <a:path w="595781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7" y="250112"/>
                  <a:pt x="155376" y="250112"/>
                </a:cubicBezTo>
                <a:cubicBezTo>
                  <a:pt x="174454" y="249746"/>
                  <a:pt x="198601" y="254980"/>
                  <a:pt x="211458" y="268141"/>
                </a:cubicBezTo>
                <a:cubicBezTo>
                  <a:pt x="215885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382868" y="82592"/>
                </a:moveTo>
                <a:cubicBezTo>
                  <a:pt x="379825" y="66091"/>
                  <a:pt x="371670" y="50477"/>
                  <a:pt x="358914" y="37722"/>
                </a:cubicBezTo>
                <a:cubicBezTo>
                  <a:pt x="342007" y="20815"/>
                  <a:pt x="320078" y="11989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4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6" y="100902"/>
                  <a:pt x="253233" y="130241"/>
                  <a:pt x="253233" y="163248"/>
                </a:cubicBezTo>
                <a:cubicBezTo>
                  <a:pt x="252735" y="189232"/>
                  <a:pt x="256525" y="205210"/>
                  <a:pt x="272877" y="215167"/>
                </a:cubicBezTo>
                <a:cubicBezTo>
                  <a:pt x="289126" y="210687"/>
                  <a:pt x="306340" y="210767"/>
                  <a:pt x="322577" y="215380"/>
                </a:cubicBezTo>
                <a:cubicBezTo>
                  <a:pt x="324655" y="214136"/>
                  <a:pt x="326534" y="212797"/>
                  <a:pt x="328229" y="211355"/>
                </a:cubicBezTo>
                <a:cubicBezTo>
                  <a:pt x="340097" y="201263"/>
                  <a:pt x="342986" y="186138"/>
                  <a:pt x="342547" y="163248"/>
                </a:cubicBezTo>
                <a:cubicBezTo>
                  <a:pt x="342547" y="130228"/>
                  <a:pt x="358265" y="100880"/>
                  <a:pt x="382868" y="82592"/>
                </a:cubicBezTo>
                <a:close/>
                <a:moveTo>
                  <a:pt x="506339" y="97830"/>
                </a:moveTo>
                <a:cubicBezTo>
                  <a:pt x="490327" y="82509"/>
                  <a:pt x="468581" y="73244"/>
                  <a:pt x="444670" y="73244"/>
                </a:cubicBezTo>
                <a:cubicBezTo>
                  <a:pt x="394652" y="73244"/>
                  <a:pt x="354103" y="113792"/>
                  <a:pt x="354103" y="163811"/>
                </a:cubicBezTo>
                <a:cubicBezTo>
                  <a:pt x="354470" y="182914"/>
                  <a:pt x="349220" y="207099"/>
                  <a:pt x="336023" y="219944"/>
                </a:cubicBezTo>
                <a:cubicBezTo>
                  <a:pt x="346519" y="224314"/>
                  <a:pt x="356263" y="230867"/>
                  <a:pt x="364783" y="239386"/>
                </a:cubicBezTo>
                <a:close/>
                <a:moveTo>
                  <a:pt x="530971" y="159544"/>
                </a:moveTo>
                <a:cubicBezTo>
                  <a:pt x="530971" y="135634"/>
                  <a:pt x="521705" y="113887"/>
                  <a:pt x="506384" y="97876"/>
                </a:cubicBezTo>
                <a:lnTo>
                  <a:pt x="364828" y="239431"/>
                </a:lnTo>
                <a:cubicBezTo>
                  <a:pt x="373348" y="247952"/>
                  <a:pt x="379901" y="257695"/>
                  <a:pt x="384270" y="268192"/>
                </a:cubicBezTo>
                <a:cubicBezTo>
                  <a:pt x="397115" y="254994"/>
                  <a:pt x="421300" y="249745"/>
                  <a:pt x="440404" y="250111"/>
                </a:cubicBezTo>
                <a:cubicBezTo>
                  <a:pt x="465413" y="250112"/>
                  <a:pt x="488055" y="239974"/>
                  <a:pt x="504444" y="223585"/>
                </a:cubicBezTo>
                <a:cubicBezTo>
                  <a:pt x="520834" y="207196"/>
                  <a:pt x="530971" y="184554"/>
                  <a:pt x="530971" y="159544"/>
                </a:cubicBezTo>
                <a:close/>
                <a:moveTo>
                  <a:pt x="595781" y="268215"/>
                </a:moveTo>
                <a:lnTo>
                  <a:pt x="581969" y="268215"/>
                </a:lnTo>
                <a:cubicBezTo>
                  <a:pt x="578743" y="259654"/>
                  <a:pt x="573266" y="252074"/>
                  <a:pt x="566492" y="245300"/>
                </a:cubicBezTo>
                <a:cubicBezTo>
                  <a:pt x="553737" y="232545"/>
                  <a:pt x="538123" y="224389"/>
                  <a:pt x="521623" y="221347"/>
                </a:cubicBezTo>
                <a:cubicBezTo>
                  <a:pt x="519174" y="225205"/>
                  <a:pt x="516174" y="228633"/>
                  <a:pt x="512960" y="231847"/>
                </a:cubicBezTo>
                <a:cubicBezTo>
                  <a:pt x="494535" y="250272"/>
                  <a:pt x="469082" y="261667"/>
                  <a:pt x="440967" y="261667"/>
                </a:cubicBezTo>
                <a:cubicBezTo>
                  <a:pt x="425629" y="261373"/>
                  <a:pt x="413777" y="262574"/>
                  <a:pt x="405186" y="268215"/>
                </a:cubicBezTo>
                <a:lnTo>
                  <a:pt x="372038" y="268215"/>
                </a:lnTo>
                <a:cubicBezTo>
                  <a:pt x="369178" y="260078"/>
                  <a:pt x="364042" y="252948"/>
                  <a:pt x="357679" y="246581"/>
                </a:cubicBezTo>
                <a:lnTo>
                  <a:pt x="349451" y="254808"/>
                </a:lnTo>
                <a:lnTo>
                  <a:pt x="349428" y="254786"/>
                </a:lnTo>
                <a:cubicBezTo>
                  <a:pt x="349421" y="254779"/>
                  <a:pt x="349413" y="254771"/>
                  <a:pt x="349406" y="254763"/>
                </a:cubicBezTo>
                <a:lnTo>
                  <a:pt x="357634" y="246536"/>
                </a:lnTo>
                <a:cubicBezTo>
                  <a:pt x="324632" y="213554"/>
                  <a:pt x="271148" y="213554"/>
                  <a:pt x="238147" y="246536"/>
                </a:cubicBezTo>
                <a:lnTo>
                  <a:pt x="246374" y="254763"/>
                </a:lnTo>
                <a:cubicBezTo>
                  <a:pt x="246367" y="254771"/>
                  <a:pt x="246359" y="254779"/>
                  <a:pt x="246352" y="254786"/>
                </a:cubicBezTo>
                <a:cubicBezTo>
                  <a:pt x="246344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69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8" y="221373"/>
                </a:cubicBezTo>
                <a:cubicBezTo>
                  <a:pt x="57671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89" y="195895"/>
                  <a:pt x="53000" y="178457"/>
                  <a:pt x="53000" y="159854"/>
                </a:cubicBezTo>
                <a:cubicBezTo>
                  <a:pt x="53000" y="132604"/>
                  <a:pt x="63706" y="107854"/>
                  <a:pt x="81286" y="89721"/>
                </a:cubicBezTo>
                <a:lnTo>
                  <a:pt x="81286" y="89721"/>
                </a:ln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30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lnTo>
                  <a:pt x="297890" y="0"/>
                </a:lnTo>
                <a:cubicBezTo>
                  <a:pt x="323144" y="391"/>
                  <a:pt x="348215" y="10322"/>
                  <a:pt x="367484" y="29591"/>
                </a:cubicBezTo>
                <a:cubicBezTo>
                  <a:pt x="380644" y="42751"/>
                  <a:pt x="389448" y="58618"/>
                  <a:pt x="393604" y="75474"/>
                </a:cubicBezTo>
                <a:cubicBezTo>
                  <a:pt x="408376" y="66408"/>
                  <a:pt x="425787" y="61434"/>
                  <a:pt x="444360" y="61434"/>
                </a:cubicBezTo>
                <a:cubicBezTo>
                  <a:pt x="471611" y="61434"/>
                  <a:pt x="496360" y="72140"/>
                  <a:pt x="514494" y="89721"/>
                </a:cubicBezTo>
                <a:cubicBezTo>
                  <a:pt x="532075" y="107854"/>
                  <a:pt x="542780" y="132604"/>
                  <a:pt x="542780" y="159854"/>
                </a:cubicBezTo>
                <a:cubicBezTo>
                  <a:pt x="542780" y="178427"/>
                  <a:pt x="537807" y="195839"/>
                  <a:pt x="528740" y="210610"/>
                </a:cubicBezTo>
                <a:cubicBezTo>
                  <a:pt x="545596" y="214766"/>
                  <a:pt x="561463" y="223570"/>
                  <a:pt x="574624" y="2367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2" name="Oval 1901"/>
          <p:cNvSpPr/>
          <p:nvPr/>
        </p:nvSpPr>
        <p:spPr>
          <a:xfrm>
            <a:off x="531499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3" name="Oval 1902"/>
          <p:cNvSpPr/>
          <p:nvPr/>
        </p:nvSpPr>
        <p:spPr>
          <a:xfrm>
            <a:off x="25975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4" name="Oval 1903"/>
          <p:cNvSpPr/>
          <p:nvPr/>
        </p:nvSpPr>
        <p:spPr>
          <a:xfrm>
            <a:off x="89165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5" name="Oval 1904"/>
          <p:cNvSpPr/>
          <p:nvPr/>
        </p:nvSpPr>
        <p:spPr>
          <a:xfrm>
            <a:off x="152356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6" name="Oval 1905"/>
          <p:cNvSpPr/>
          <p:nvPr/>
        </p:nvSpPr>
        <p:spPr>
          <a:xfrm>
            <a:off x="215546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7" name="Oval 1906"/>
          <p:cNvSpPr/>
          <p:nvPr/>
        </p:nvSpPr>
        <p:spPr>
          <a:xfrm>
            <a:off x="278737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8" name="Oval 1907"/>
          <p:cNvSpPr/>
          <p:nvPr/>
        </p:nvSpPr>
        <p:spPr>
          <a:xfrm>
            <a:off x="341927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9" name="Oval 1908"/>
          <p:cNvSpPr/>
          <p:nvPr/>
        </p:nvSpPr>
        <p:spPr>
          <a:xfrm>
            <a:off x="405118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0" name="Oval 1909"/>
          <p:cNvSpPr/>
          <p:nvPr/>
        </p:nvSpPr>
        <p:spPr>
          <a:xfrm>
            <a:off x="468308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1" name="Oval 1910"/>
          <p:cNvSpPr/>
          <p:nvPr/>
        </p:nvSpPr>
        <p:spPr>
          <a:xfrm>
            <a:off x="657880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2" name="Oval 1911"/>
          <p:cNvSpPr/>
          <p:nvPr/>
        </p:nvSpPr>
        <p:spPr>
          <a:xfrm>
            <a:off x="594689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3" name="Oval 1912"/>
          <p:cNvSpPr/>
          <p:nvPr/>
        </p:nvSpPr>
        <p:spPr>
          <a:xfrm>
            <a:off x="784261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4" name="Oval 1913"/>
          <p:cNvSpPr/>
          <p:nvPr/>
        </p:nvSpPr>
        <p:spPr>
          <a:xfrm>
            <a:off x="721070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5" name="Oval 1914"/>
          <p:cNvSpPr/>
          <p:nvPr/>
        </p:nvSpPr>
        <p:spPr>
          <a:xfrm>
            <a:off x="847451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6" name="Teardrop 3"/>
          <p:cNvSpPr/>
          <p:nvPr/>
        </p:nvSpPr>
        <p:spPr>
          <a:xfrm rot="5400000" flipH="1" flipV="1">
            <a:off x="483207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7" name="Oval 1916"/>
          <p:cNvSpPr/>
          <p:nvPr/>
        </p:nvSpPr>
        <p:spPr>
          <a:xfrm>
            <a:off x="534037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18" name="Teardrop 3"/>
          <p:cNvSpPr/>
          <p:nvPr/>
        </p:nvSpPr>
        <p:spPr>
          <a:xfrm rot="5400000" flipH="1" flipV="1">
            <a:off x="-111581" y="2729446"/>
            <a:ext cx="459486" cy="236325"/>
          </a:xfrm>
          <a:custGeom>
            <a:avLst/>
            <a:gdLst/>
            <a:ahLst/>
            <a:cxnLst/>
            <a:rect l="l" t="t" r="r" b="b"/>
            <a:pathLst>
              <a:path w="612648" h="315100">
                <a:moveTo>
                  <a:pt x="239386" y="75670"/>
                </a:moveTo>
                <a:cubicBezTo>
                  <a:pt x="230866" y="67149"/>
                  <a:pt x="224313" y="57406"/>
                  <a:pt x="219944" y="46909"/>
                </a:cubicBezTo>
                <a:cubicBezTo>
                  <a:pt x="207099" y="60107"/>
                  <a:pt x="182914" y="65356"/>
                  <a:pt x="163810" y="64989"/>
                </a:cubicBezTo>
                <a:cubicBezTo>
                  <a:pt x="113792" y="64989"/>
                  <a:pt x="73243" y="105538"/>
                  <a:pt x="73243" y="155556"/>
                </a:cubicBezTo>
                <a:cubicBezTo>
                  <a:pt x="73243" y="179467"/>
                  <a:pt x="82509" y="201213"/>
                  <a:pt x="97830" y="217225"/>
                </a:cubicBezTo>
                <a:close/>
                <a:moveTo>
                  <a:pt x="268191" y="95157"/>
                </a:moveTo>
                <a:cubicBezTo>
                  <a:pt x="257695" y="90787"/>
                  <a:pt x="247952" y="84234"/>
                  <a:pt x="239431" y="75715"/>
                </a:cubicBezTo>
                <a:lnTo>
                  <a:pt x="97875" y="217270"/>
                </a:lnTo>
                <a:cubicBezTo>
                  <a:pt x="113887" y="232591"/>
                  <a:pt x="135634" y="241857"/>
                  <a:pt x="159544" y="241857"/>
                </a:cubicBezTo>
                <a:cubicBezTo>
                  <a:pt x="184553" y="241857"/>
                  <a:pt x="207195" y="231720"/>
                  <a:pt x="223585" y="215331"/>
                </a:cubicBezTo>
                <a:cubicBezTo>
                  <a:pt x="239974" y="198941"/>
                  <a:pt x="250111" y="176299"/>
                  <a:pt x="250111" y="151290"/>
                </a:cubicBezTo>
                <a:cubicBezTo>
                  <a:pt x="249745" y="132187"/>
                  <a:pt x="254994" y="108002"/>
                  <a:pt x="268191" y="95157"/>
                </a:cubicBezTo>
                <a:close/>
                <a:moveTo>
                  <a:pt x="391275" y="232488"/>
                </a:moveTo>
                <a:cubicBezTo>
                  <a:pt x="366688" y="214199"/>
                  <a:pt x="350981" y="184860"/>
                  <a:pt x="350981" y="151853"/>
                </a:cubicBezTo>
                <a:cubicBezTo>
                  <a:pt x="351479" y="125869"/>
                  <a:pt x="347689" y="109892"/>
                  <a:pt x="331337" y="99934"/>
                </a:cubicBezTo>
                <a:cubicBezTo>
                  <a:pt x="315088" y="104415"/>
                  <a:pt x="297874" y="104335"/>
                  <a:pt x="281637" y="99721"/>
                </a:cubicBezTo>
                <a:cubicBezTo>
                  <a:pt x="265010" y="109675"/>
                  <a:pt x="261165" y="125694"/>
                  <a:pt x="261667" y="151853"/>
                </a:cubicBezTo>
                <a:cubicBezTo>
                  <a:pt x="261667" y="179968"/>
                  <a:pt x="250271" y="205421"/>
                  <a:pt x="231847" y="223846"/>
                </a:cubicBezTo>
                <a:lnTo>
                  <a:pt x="221347" y="232509"/>
                </a:lnTo>
                <a:cubicBezTo>
                  <a:pt x="224390" y="249009"/>
                  <a:pt x="232545" y="264623"/>
                  <a:pt x="245300" y="277378"/>
                </a:cubicBezTo>
                <a:cubicBezTo>
                  <a:pt x="262208" y="294285"/>
                  <a:pt x="284137" y="303111"/>
                  <a:pt x="306292" y="303599"/>
                </a:cubicBezTo>
                <a:lnTo>
                  <a:pt x="306292" y="218433"/>
                </a:lnTo>
                <a:lnTo>
                  <a:pt x="306356" y="218433"/>
                </a:lnTo>
                <a:lnTo>
                  <a:pt x="306356" y="303599"/>
                </a:lnTo>
                <a:cubicBezTo>
                  <a:pt x="328512" y="303110"/>
                  <a:pt x="350441" y="294285"/>
                  <a:pt x="367348" y="277378"/>
                </a:cubicBezTo>
                <a:cubicBezTo>
                  <a:pt x="380109" y="264617"/>
                  <a:pt x="388266" y="248996"/>
                  <a:pt x="391275" y="232488"/>
                </a:cubicBezTo>
                <a:close/>
                <a:moveTo>
                  <a:pt x="514773" y="217271"/>
                </a:moveTo>
                <a:lnTo>
                  <a:pt x="373218" y="75716"/>
                </a:lnTo>
                <a:cubicBezTo>
                  <a:pt x="364700" y="84231"/>
                  <a:pt x="354962" y="90781"/>
                  <a:pt x="344508" y="95209"/>
                </a:cubicBezTo>
                <a:cubicBezTo>
                  <a:pt x="357668" y="108066"/>
                  <a:pt x="362903" y="132212"/>
                  <a:pt x="362537" y="151290"/>
                </a:cubicBezTo>
                <a:cubicBezTo>
                  <a:pt x="362537" y="201309"/>
                  <a:pt x="403086" y="241857"/>
                  <a:pt x="453104" y="241857"/>
                </a:cubicBezTo>
                <a:cubicBezTo>
                  <a:pt x="477015" y="241857"/>
                  <a:pt x="498761" y="232592"/>
                  <a:pt x="514773" y="217271"/>
                </a:cubicBezTo>
                <a:close/>
                <a:moveTo>
                  <a:pt x="539405" y="155556"/>
                </a:moveTo>
                <a:cubicBezTo>
                  <a:pt x="539405" y="105538"/>
                  <a:pt x="498856" y="64989"/>
                  <a:pt x="448838" y="64989"/>
                </a:cubicBezTo>
                <a:cubicBezTo>
                  <a:pt x="429760" y="65355"/>
                  <a:pt x="405614" y="60121"/>
                  <a:pt x="392756" y="46961"/>
                </a:cubicBezTo>
                <a:cubicBezTo>
                  <a:pt x="388329" y="57415"/>
                  <a:pt x="381778" y="67153"/>
                  <a:pt x="373263" y="75671"/>
                </a:cubicBezTo>
                <a:lnTo>
                  <a:pt x="514818" y="217225"/>
                </a:lnTo>
                <a:cubicBezTo>
                  <a:pt x="530139" y="201213"/>
                  <a:pt x="539405" y="179467"/>
                  <a:pt x="539405" y="155556"/>
                </a:cubicBezTo>
                <a:close/>
                <a:moveTo>
                  <a:pt x="612648" y="8776"/>
                </a:moveTo>
                <a:cubicBezTo>
                  <a:pt x="612257" y="34030"/>
                  <a:pt x="602326" y="59101"/>
                  <a:pt x="583058" y="78369"/>
                </a:cubicBezTo>
                <a:cubicBezTo>
                  <a:pt x="569890" y="91537"/>
                  <a:pt x="554014" y="100343"/>
                  <a:pt x="537134" y="104416"/>
                </a:cubicBezTo>
                <a:cubicBezTo>
                  <a:pt x="546225" y="119205"/>
                  <a:pt x="551214" y="136643"/>
                  <a:pt x="551214" y="155247"/>
                </a:cubicBezTo>
                <a:cubicBezTo>
                  <a:pt x="551214" y="182497"/>
                  <a:pt x="540509" y="207247"/>
                  <a:pt x="522928" y="225380"/>
                </a:cubicBezTo>
                <a:lnTo>
                  <a:pt x="522928" y="225380"/>
                </a:lnTo>
                <a:cubicBezTo>
                  <a:pt x="504794" y="242961"/>
                  <a:pt x="480045" y="253667"/>
                  <a:pt x="452794" y="253667"/>
                </a:cubicBezTo>
                <a:cubicBezTo>
                  <a:pt x="434191" y="253667"/>
                  <a:pt x="416753" y="248677"/>
                  <a:pt x="401964" y="239586"/>
                </a:cubicBezTo>
                <a:cubicBezTo>
                  <a:pt x="397891" y="256466"/>
                  <a:pt x="389084" y="272342"/>
                  <a:pt x="375917" y="285509"/>
                </a:cubicBezTo>
                <a:cubicBezTo>
                  <a:pt x="356649" y="304778"/>
                  <a:pt x="331578" y="314709"/>
                  <a:pt x="306324" y="315100"/>
                </a:cubicBezTo>
                <a:lnTo>
                  <a:pt x="306324" y="315100"/>
                </a:lnTo>
                <a:cubicBezTo>
                  <a:pt x="281070" y="314709"/>
                  <a:pt x="255999" y="304778"/>
                  <a:pt x="236731" y="285509"/>
                </a:cubicBezTo>
                <a:cubicBezTo>
                  <a:pt x="223571" y="272349"/>
                  <a:pt x="214766" y="256482"/>
                  <a:pt x="210610" y="239626"/>
                </a:cubicBezTo>
                <a:cubicBezTo>
                  <a:pt x="195839" y="248693"/>
                  <a:pt x="178427" y="253666"/>
                  <a:pt x="159854" y="253666"/>
                </a:cubicBezTo>
                <a:cubicBezTo>
                  <a:pt x="132604" y="253666"/>
                  <a:pt x="107854" y="242961"/>
                  <a:pt x="89720" y="225380"/>
                </a:cubicBezTo>
                <a:lnTo>
                  <a:pt x="89720" y="225380"/>
                </a:lnTo>
                <a:cubicBezTo>
                  <a:pt x="72140" y="207247"/>
                  <a:pt x="61434" y="182497"/>
                  <a:pt x="61434" y="155247"/>
                </a:cubicBezTo>
                <a:cubicBezTo>
                  <a:pt x="61434" y="136673"/>
                  <a:pt x="66408" y="119262"/>
                  <a:pt x="75474" y="104490"/>
                </a:cubicBezTo>
                <a:cubicBezTo>
                  <a:pt x="58618" y="100334"/>
                  <a:pt x="42751" y="91530"/>
                  <a:pt x="29591" y="78369"/>
                </a:cubicBezTo>
                <a:cubicBezTo>
                  <a:pt x="10322" y="59101"/>
                  <a:pt x="391" y="34030"/>
                  <a:pt x="0" y="8776"/>
                </a:cubicBezTo>
                <a:lnTo>
                  <a:pt x="0" y="8776"/>
                </a:lnTo>
                <a:lnTo>
                  <a:pt x="1828" y="0"/>
                </a:lnTo>
                <a:lnTo>
                  <a:pt x="13374" y="0"/>
                </a:lnTo>
                <a:cubicBezTo>
                  <a:pt x="11782" y="2802"/>
                  <a:pt x="11567" y="5771"/>
                  <a:pt x="11501" y="8744"/>
                </a:cubicBezTo>
                <a:lnTo>
                  <a:pt x="96667" y="8744"/>
                </a:lnTo>
                <a:lnTo>
                  <a:pt x="96667" y="8808"/>
                </a:lnTo>
                <a:lnTo>
                  <a:pt x="11501" y="8808"/>
                </a:lnTo>
                <a:cubicBezTo>
                  <a:pt x="11990" y="30964"/>
                  <a:pt x="20815" y="52893"/>
                  <a:pt x="37722" y="69800"/>
                </a:cubicBezTo>
                <a:cubicBezTo>
                  <a:pt x="50477" y="82555"/>
                  <a:pt x="66091" y="90711"/>
                  <a:pt x="82592" y="93753"/>
                </a:cubicBezTo>
                <a:cubicBezTo>
                  <a:pt x="100880" y="69151"/>
                  <a:pt x="130228" y="53433"/>
                  <a:pt x="163247" y="53433"/>
                </a:cubicBezTo>
                <a:cubicBezTo>
                  <a:pt x="186137" y="53872"/>
                  <a:pt x="201262" y="50984"/>
                  <a:pt x="211355" y="39116"/>
                </a:cubicBezTo>
                <a:cubicBezTo>
                  <a:pt x="212796" y="37420"/>
                  <a:pt x="214135" y="35542"/>
                  <a:pt x="215380" y="33463"/>
                </a:cubicBezTo>
                <a:lnTo>
                  <a:pt x="215236" y="0"/>
                </a:lnTo>
                <a:lnTo>
                  <a:pt x="223507" y="0"/>
                </a:lnTo>
                <a:cubicBezTo>
                  <a:pt x="219688" y="24354"/>
                  <a:pt x="227777" y="49750"/>
                  <a:pt x="246535" y="68520"/>
                </a:cubicBezTo>
                <a:lnTo>
                  <a:pt x="254763" y="60293"/>
                </a:lnTo>
                <a:cubicBezTo>
                  <a:pt x="254771" y="60299"/>
                  <a:pt x="254778" y="60307"/>
                  <a:pt x="254786" y="60315"/>
                </a:cubicBezTo>
                <a:lnTo>
                  <a:pt x="254808" y="60338"/>
                </a:lnTo>
                <a:lnTo>
                  <a:pt x="246580" y="68565"/>
                </a:lnTo>
                <a:cubicBezTo>
                  <a:pt x="279582" y="101547"/>
                  <a:pt x="333066" y="101547"/>
                  <a:pt x="366068" y="68565"/>
                </a:cubicBezTo>
                <a:lnTo>
                  <a:pt x="357840" y="60338"/>
                </a:lnTo>
                <a:cubicBezTo>
                  <a:pt x="357847" y="60330"/>
                  <a:pt x="357855" y="60322"/>
                  <a:pt x="357862" y="60315"/>
                </a:cubicBezTo>
                <a:lnTo>
                  <a:pt x="357885" y="60293"/>
                </a:lnTo>
                <a:lnTo>
                  <a:pt x="366113" y="68520"/>
                </a:lnTo>
                <a:cubicBezTo>
                  <a:pt x="384872" y="49750"/>
                  <a:pt x="392961" y="24354"/>
                  <a:pt x="389142" y="0"/>
                </a:cubicBezTo>
                <a:lnTo>
                  <a:pt x="397337" y="0"/>
                </a:lnTo>
                <a:cubicBezTo>
                  <a:pt x="401479" y="11094"/>
                  <a:pt x="400548" y="22668"/>
                  <a:pt x="397481" y="33790"/>
                </a:cubicBezTo>
                <a:cubicBezTo>
                  <a:pt x="407439" y="50142"/>
                  <a:pt x="423417" y="53932"/>
                  <a:pt x="449401" y="53433"/>
                </a:cubicBezTo>
                <a:cubicBezTo>
                  <a:pt x="482408" y="53434"/>
                  <a:pt x="511746" y="69140"/>
                  <a:pt x="530035" y="93727"/>
                </a:cubicBezTo>
                <a:cubicBezTo>
                  <a:pt x="546543" y="90718"/>
                  <a:pt x="562165" y="82561"/>
                  <a:pt x="574926" y="69800"/>
                </a:cubicBezTo>
                <a:cubicBezTo>
                  <a:pt x="591833" y="52893"/>
                  <a:pt x="600659" y="30964"/>
                  <a:pt x="601147" y="8808"/>
                </a:cubicBezTo>
                <a:lnTo>
                  <a:pt x="515982" y="8808"/>
                </a:lnTo>
                <a:lnTo>
                  <a:pt x="515981" y="8744"/>
                </a:lnTo>
                <a:lnTo>
                  <a:pt x="601147" y="8744"/>
                </a:lnTo>
                <a:lnTo>
                  <a:pt x="599275" y="0"/>
                </a:lnTo>
                <a:lnTo>
                  <a:pt x="610820" y="0"/>
                </a:lnTo>
                <a:cubicBezTo>
                  <a:pt x="612423" y="2826"/>
                  <a:pt x="612602" y="5800"/>
                  <a:pt x="612648" y="8776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9" name="Oval 1918"/>
          <p:cNvSpPr/>
          <p:nvPr/>
        </p:nvSpPr>
        <p:spPr>
          <a:xfrm>
            <a:off x="28309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20" name="Teardrop 3"/>
          <p:cNvSpPr/>
          <p:nvPr/>
        </p:nvSpPr>
        <p:spPr>
          <a:xfrm rot="5400000" flipH="1" flipV="1">
            <a:off x="104064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1" name="Teardrop 3"/>
          <p:cNvSpPr/>
          <p:nvPr/>
        </p:nvSpPr>
        <p:spPr>
          <a:xfrm rot="5400000" flipH="1" flipV="1">
            <a:off x="167255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2" name="Teardrop 3"/>
          <p:cNvSpPr/>
          <p:nvPr/>
        </p:nvSpPr>
        <p:spPr>
          <a:xfrm rot="5400000" flipH="1" flipV="1">
            <a:off x="230445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3" name="Teardrop 3"/>
          <p:cNvSpPr/>
          <p:nvPr/>
        </p:nvSpPr>
        <p:spPr>
          <a:xfrm rot="5400000" flipH="1" flipV="1">
            <a:off x="293636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4" name="Teardrop 3"/>
          <p:cNvSpPr/>
          <p:nvPr/>
        </p:nvSpPr>
        <p:spPr>
          <a:xfrm rot="5400000" flipH="1" flipV="1">
            <a:off x="356826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5" name="Teardrop 3"/>
          <p:cNvSpPr/>
          <p:nvPr/>
        </p:nvSpPr>
        <p:spPr>
          <a:xfrm rot="5400000" flipH="1" flipV="1">
            <a:off x="420017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6" name="Oval 1925"/>
          <p:cNvSpPr/>
          <p:nvPr/>
        </p:nvSpPr>
        <p:spPr>
          <a:xfrm>
            <a:off x="91525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27" name="Oval 1926"/>
          <p:cNvSpPr/>
          <p:nvPr/>
        </p:nvSpPr>
        <p:spPr>
          <a:xfrm>
            <a:off x="154741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28" name="Oval 1927"/>
          <p:cNvSpPr/>
          <p:nvPr/>
        </p:nvSpPr>
        <p:spPr>
          <a:xfrm>
            <a:off x="217957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29" name="Oval 1928"/>
          <p:cNvSpPr/>
          <p:nvPr/>
        </p:nvSpPr>
        <p:spPr>
          <a:xfrm>
            <a:off x="281173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30" name="Oval 1929"/>
          <p:cNvSpPr/>
          <p:nvPr/>
        </p:nvSpPr>
        <p:spPr>
          <a:xfrm>
            <a:off x="344389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31" name="Oval 1930"/>
          <p:cNvSpPr/>
          <p:nvPr/>
        </p:nvSpPr>
        <p:spPr>
          <a:xfrm>
            <a:off x="407605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32" name="Oval 1931"/>
          <p:cNvSpPr/>
          <p:nvPr/>
        </p:nvSpPr>
        <p:spPr>
          <a:xfrm>
            <a:off x="470821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33" name="Teardrop 3"/>
          <p:cNvSpPr/>
          <p:nvPr/>
        </p:nvSpPr>
        <p:spPr>
          <a:xfrm rot="5400000" flipH="1" flipV="1">
            <a:off x="609588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4" name="Oval 1933"/>
          <p:cNvSpPr/>
          <p:nvPr/>
        </p:nvSpPr>
        <p:spPr>
          <a:xfrm>
            <a:off x="660469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35" name="Teardrop 3"/>
          <p:cNvSpPr/>
          <p:nvPr/>
        </p:nvSpPr>
        <p:spPr>
          <a:xfrm rot="5400000" flipH="1" flipV="1">
            <a:off x="546398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6" name="Oval 1935"/>
          <p:cNvSpPr/>
          <p:nvPr/>
        </p:nvSpPr>
        <p:spPr>
          <a:xfrm>
            <a:off x="597253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37" name="Teardrop 3"/>
          <p:cNvSpPr/>
          <p:nvPr/>
        </p:nvSpPr>
        <p:spPr>
          <a:xfrm rot="5400000" flipH="1" flipV="1">
            <a:off x="735969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8" name="Oval 1937"/>
          <p:cNvSpPr/>
          <p:nvPr/>
        </p:nvSpPr>
        <p:spPr>
          <a:xfrm>
            <a:off x="786901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39" name="Teardrop 3"/>
          <p:cNvSpPr/>
          <p:nvPr/>
        </p:nvSpPr>
        <p:spPr>
          <a:xfrm rot="5400000" flipH="1" flipV="1">
            <a:off x="672779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0" name="Oval 1939"/>
          <p:cNvSpPr/>
          <p:nvPr/>
        </p:nvSpPr>
        <p:spPr>
          <a:xfrm>
            <a:off x="723685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41" name="Teardrop 3"/>
          <p:cNvSpPr/>
          <p:nvPr/>
        </p:nvSpPr>
        <p:spPr>
          <a:xfrm rot="5400000" flipH="1" flipV="1">
            <a:off x="8623508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2" name="Teardrop 3"/>
          <p:cNvSpPr/>
          <p:nvPr/>
        </p:nvSpPr>
        <p:spPr>
          <a:xfrm rot="5400000" flipH="1" flipV="1">
            <a:off x="799160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3" name="Oval 1942"/>
          <p:cNvSpPr/>
          <p:nvPr/>
        </p:nvSpPr>
        <p:spPr>
          <a:xfrm>
            <a:off x="850117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1944" name="Teardrop 3"/>
          <p:cNvSpPr/>
          <p:nvPr/>
        </p:nvSpPr>
        <p:spPr>
          <a:xfrm rot="5400000" flipH="1" flipV="1">
            <a:off x="40874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5" name="Oval 1944"/>
          <p:cNvSpPr/>
          <p:nvPr/>
        </p:nvSpPr>
        <p:spPr>
          <a:xfrm>
            <a:off x="499838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6" name="Oval 1945"/>
          <p:cNvSpPr/>
          <p:nvPr/>
        </p:nvSpPr>
        <p:spPr>
          <a:xfrm>
            <a:off x="57504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7" name="Oval 1946"/>
          <p:cNvSpPr/>
          <p:nvPr/>
        </p:nvSpPr>
        <p:spPr>
          <a:xfrm>
            <a:off x="120695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8" name="Oval 1947"/>
          <p:cNvSpPr/>
          <p:nvPr/>
        </p:nvSpPr>
        <p:spPr>
          <a:xfrm>
            <a:off x="183885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9" name="Oval 1948"/>
          <p:cNvSpPr/>
          <p:nvPr/>
        </p:nvSpPr>
        <p:spPr>
          <a:xfrm>
            <a:off x="247076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0" name="Oval 1949"/>
          <p:cNvSpPr/>
          <p:nvPr/>
        </p:nvSpPr>
        <p:spPr>
          <a:xfrm>
            <a:off x="310266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1" name="Oval 1950"/>
          <p:cNvSpPr/>
          <p:nvPr/>
        </p:nvSpPr>
        <p:spPr>
          <a:xfrm>
            <a:off x="373457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2" name="Oval 1951"/>
          <p:cNvSpPr/>
          <p:nvPr/>
        </p:nvSpPr>
        <p:spPr>
          <a:xfrm>
            <a:off x="436647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3" name="Oval 1952"/>
          <p:cNvSpPr/>
          <p:nvPr/>
        </p:nvSpPr>
        <p:spPr>
          <a:xfrm>
            <a:off x="626219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4" name="Oval 1953"/>
          <p:cNvSpPr/>
          <p:nvPr/>
        </p:nvSpPr>
        <p:spPr>
          <a:xfrm>
            <a:off x="563028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5" name="Oval 1954"/>
          <p:cNvSpPr/>
          <p:nvPr/>
        </p:nvSpPr>
        <p:spPr>
          <a:xfrm>
            <a:off x="752600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6" name="Oval 1955"/>
          <p:cNvSpPr/>
          <p:nvPr/>
        </p:nvSpPr>
        <p:spPr>
          <a:xfrm>
            <a:off x="689409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7" name="Oval 1956"/>
          <p:cNvSpPr/>
          <p:nvPr/>
        </p:nvSpPr>
        <p:spPr>
          <a:xfrm>
            <a:off x="8789813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8" name="Oval 1957"/>
          <p:cNvSpPr/>
          <p:nvPr/>
        </p:nvSpPr>
        <p:spPr>
          <a:xfrm>
            <a:off x="815790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9" name="Teardrop 3"/>
          <p:cNvSpPr/>
          <p:nvPr/>
        </p:nvSpPr>
        <p:spPr>
          <a:xfrm rot="5400000" flipH="1" flipV="1">
            <a:off x="4515886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0" name="Teardrop 3"/>
          <p:cNvSpPr/>
          <p:nvPr/>
        </p:nvSpPr>
        <p:spPr>
          <a:xfrm rot="5400000" flipH="1" flipV="1">
            <a:off x="724457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1" name="Teardrop 3"/>
          <p:cNvSpPr/>
          <p:nvPr/>
        </p:nvSpPr>
        <p:spPr>
          <a:xfrm rot="5400000" flipH="1" flipV="1">
            <a:off x="135636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2" name="Teardrop 3"/>
          <p:cNvSpPr/>
          <p:nvPr/>
        </p:nvSpPr>
        <p:spPr>
          <a:xfrm rot="5400000" flipH="1" flipV="1">
            <a:off x="1988267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3" name="Teardrop 3"/>
          <p:cNvSpPr/>
          <p:nvPr/>
        </p:nvSpPr>
        <p:spPr>
          <a:xfrm rot="5400000" flipH="1" flipV="1">
            <a:off x="262017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4" name="Teardrop 3"/>
          <p:cNvSpPr/>
          <p:nvPr/>
        </p:nvSpPr>
        <p:spPr>
          <a:xfrm rot="5400000" flipH="1" flipV="1">
            <a:off x="3252077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5" name="Teardrop 3"/>
          <p:cNvSpPr/>
          <p:nvPr/>
        </p:nvSpPr>
        <p:spPr>
          <a:xfrm rot="5400000" flipH="1" flipV="1">
            <a:off x="388398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6" name="Teardrop 3"/>
          <p:cNvSpPr/>
          <p:nvPr/>
        </p:nvSpPr>
        <p:spPr>
          <a:xfrm rot="5400000" flipH="1" flipV="1">
            <a:off x="5779697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7" name="Teardrop 3"/>
          <p:cNvSpPr/>
          <p:nvPr/>
        </p:nvSpPr>
        <p:spPr>
          <a:xfrm rot="5400000" flipH="1" flipV="1">
            <a:off x="514779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8" name="Teardrop 3"/>
          <p:cNvSpPr/>
          <p:nvPr/>
        </p:nvSpPr>
        <p:spPr>
          <a:xfrm rot="5400000" flipH="1" flipV="1">
            <a:off x="7043507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9" name="Teardrop 3"/>
          <p:cNvSpPr/>
          <p:nvPr/>
        </p:nvSpPr>
        <p:spPr>
          <a:xfrm rot="5400000" flipH="1" flipV="1">
            <a:off x="641160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0" name="Teardrop 3"/>
          <p:cNvSpPr/>
          <p:nvPr/>
        </p:nvSpPr>
        <p:spPr>
          <a:xfrm rot="5400000" flipH="1" flipV="1">
            <a:off x="8307316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1" name="Teardrop 3"/>
          <p:cNvSpPr/>
          <p:nvPr/>
        </p:nvSpPr>
        <p:spPr>
          <a:xfrm rot="5400000" flipH="1" flipV="1">
            <a:off x="767541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2" name="Teardrop 3"/>
          <p:cNvSpPr/>
          <p:nvPr/>
        </p:nvSpPr>
        <p:spPr>
          <a:xfrm rot="5400000" flipH="1" flipV="1">
            <a:off x="9255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3" name="Teardrop 3"/>
          <p:cNvSpPr/>
          <p:nvPr/>
        </p:nvSpPr>
        <p:spPr>
          <a:xfrm rot="5400000" flipH="1" flipV="1">
            <a:off x="8820002" y="3052452"/>
            <a:ext cx="446836" cy="201161"/>
          </a:xfrm>
          <a:custGeom>
            <a:avLst/>
            <a:gdLst/>
            <a:ahLst/>
            <a:cxnLst/>
            <a:rect l="l" t="t" r="r" b="b"/>
            <a:pathLst>
              <a:path w="595781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8" y="250112"/>
                  <a:pt x="155376" y="250112"/>
                </a:cubicBezTo>
                <a:cubicBezTo>
                  <a:pt x="174455" y="249746"/>
                  <a:pt x="198601" y="254980"/>
                  <a:pt x="211458" y="268141"/>
                </a:cubicBezTo>
                <a:cubicBezTo>
                  <a:pt x="215886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382868" y="82592"/>
                </a:moveTo>
                <a:cubicBezTo>
                  <a:pt x="379825" y="66091"/>
                  <a:pt x="371670" y="50477"/>
                  <a:pt x="358914" y="37722"/>
                </a:cubicBezTo>
                <a:cubicBezTo>
                  <a:pt x="342007" y="20815"/>
                  <a:pt x="320078" y="11989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4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7" y="100902"/>
                  <a:pt x="253233" y="130241"/>
                  <a:pt x="253233" y="163248"/>
                </a:cubicBezTo>
                <a:cubicBezTo>
                  <a:pt x="252735" y="189232"/>
                  <a:pt x="256525" y="205210"/>
                  <a:pt x="272877" y="215167"/>
                </a:cubicBezTo>
                <a:cubicBezTo>
                  <a:pt x="289126" y="210687"/>
                  <a:pt x="306340" y="210767"/>
                  <a:pt x="322577" y="215380"/>
                </a:cubicBezTo>
                <a:cubicBezTo>
                  <a:pt x="324655" y="214136"/>
                  <a:pt x="326534" y="212797"/>
                  <a:pt x="328229" y="211355"/>
                </a:cubicBezTo>
                <a:cubicBezTo>
                  <a:pt x="340097" y="201263"/>
                  <a:pt x="342986" y="186138"/>
                  <a:pt x="342547" y="163248"/>
                </a:cubicBezTo>
                <a:cubicBezTo>
                  <a:pt x="342547" y="130228"/>
                  <a:pt x="358265" y="100880"/>
                  <a:pt x="382868" y="82592"/>
                </a:cubicBezTo>
                <a:close/>
                <a:moveTo>
                  <a:pt x="506339" y="97830"/>
                </a:moveTo>
                <a:cubicBezTo>
                  <a:pt x="490327" y="82509"/>
                  <a:pt x="468581" y="73244"/>
                  <a:pt x="444670" y="73244"/>
                </a:cubicBezTo>
                <a:cubicBezTo>
                  <a:pt x="394652" y="73244"/>
                  <a:pt x="354103" y="113792"/>
                  <a:pt x="354103" y="163811"/>
                </a:cubicBezTo>
                <a:cubicBezTo>
                  <a:pt x="354470" y="182914"/>
                  <a:pt x="349220" y="207099"/>
                  <a:pt x="336023" y="219944"/>
                </a:cubicBezTo>
                <a:cubicBezTo>
                  <a:pt x="346519" y="224314"/>
                  <a:pt x="356263" y="230867"/>
                  <a:pt x="364783" y="239386"/>
                </a:cubicBezTo>
                <a:close/>
                <a:moveTo>
                  <a:pt x="530971" y="159544"/>
                </a:moveTo>
                <a:cubicBezTo>
                  <a:pt x="530971" y="135634"/>
                  <a:pt x="521705" y="113887"/>
                  <a:pt x="506384" y="97876"/>
                </a:cubicBezTo>
                <a:lnTo>
                  <a:pt x="364828" y="239431"/>
                </a:lnTo>
                <a:cubicBezTo>
                  <a:pt x="373348" y="247952"/>
                  <a:pt x="379901" y="257695"/>
                  <a:pt x="384270" y="268192"/>
                </a:cubicBezTo>
                <a:cubicBezTo>
                  <a:pt x="397115" y="254994"/>
                  <a:pt x="421300" y="249745"/>
                  <a:pt x="440404" y="250111"/>
                </a:cubicBezTo>
                <a:cubicBezTo>
                  <a:pt x="465413" y="250112"/>
                  <a:pt x="488055" y="239974"/>
                  <a:pt x="504444" y="223585"/>
                </a:cubicBezTo>
                <a:cubicBezTo>
                  <a:pt x="520834" y="207196"/>
                  <a:pt x="530971" y="184554"/>
                  <a:pt x="530971" y="159544"/>
                </a:cubicBezTo>
                <a:close/>
                <a:moveTo>
                  <a:pt x="595781" y="268215"/>
                </a:moveTo>
                <a:lnTo>
                  <a:pt x="581969" y="268215"/>
                </a:lnTo>
                <a:cubicBezTo>
                  <a:pt x="578743" y="259654"/>
                  <a:pt x="573266" y="252074"/>
                  <a:pt x="566492" y="245300"/>
                </a:cubicBezTo>
                <a:cubicBezTo>
                  <a:pt x="553737" y="232545"/>
                  <a:pt x="538123" y="224389"/>
                  <a:pt x="521623" y="221347"/>
                </a:cubicBezTo>
                <a:cubicBezTo>
                  <a:pt x="519174" y="225205"/>
                  <a:pt x="516174" y="228633"/>
                  <a:pt x="512960" y="231847"/>
                </a:cubicBezTo>
                <a:cubicBezTo>
                  <a:pt x="494535" y="250272"/>
                  <a:pt x="469082" y="261667"/>
                  <a:pt x="440967" y="261667"/>
                </a:cubicBezTo>
                <a:cubicBezTo>
                  <a:pt x="425629" y="261373"/>
                  <a:pt x="413777" y="262574"/>
                  <a:pt x="405186" y="268215"/>
                </a:cubicBezTo>
                <a:lnTo>
                  <a:pt x="372038" y="268215"/>
                </a:lnTo>
                <a:cubicBezTo>
                  <a:pt x="369178" y="260078"/>
                  <a:pt x="364042" y="252948"/>
                  <a:pt x="357679" y="246581"/>
                </a:cubicBezTo>
                <a:lnTo>
                  <a:pt x="349451" y="254808"/>
                </a:lnTo>
                <a:lnTo>
                  <a:pt x="349428" y="254786"/>
                </a:lnTo>
                <a:cubicBezTo>
                  <a:pt x="349421" y="254779"/>
                  <a:pt x="349413" y="254771"/>
                  <a:pt x="349406" y="254763"/>
                </a:cubicBezTo>
                <a:lnTo>
                  <a:pt x="357634" y="246536"/>
                </a:lnTo>
                <a:cubicBezTo>
                  <a:pt x="324632" y="213554"/>
                  <a:pt x="271148" y="213554"/>
                  <a:pt x="238147" y="246536"/>
                </a:cubicBezTo>
                <a:lnTo>
                  <a:pt x="246374" y="254763"/>
                </a:lnTo>
                <a:cubicBezTo>
                  <a:pt x="246367" y="254771"/>
                  <a:pt x="246360" y="254779"/>
                  <a:pt x="246352" y="254786"/>
                </a:cubicBezTo>
                <a:cubicBezTo>
                  <a:pt x="246345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70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9" y="221373"/>
                </a:cubicBezTo>
                <a:cubicBezTo>
                  <a:pt x="57671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90" y="195895"/>
                  <a:pt x="53000" y="178457"/>
                  <a:pt x="53000" y="159854"/>
                </a:cubicBezTo>
                <a:cubicBezTo>
                  <a:pt x="53000" y="132604"/>
                  <a:pt x="63706" y="107854"/>
                  <a:pt x="81286" y="89721"/>
                </a:cubicBez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30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cubicBezTo>
                  <a:pt x="323144" y="391"/>
                  <a:pt x="348215" y="10322"/>
                  <a:pt x="367484" y="29591"/>
                </a:cubicBezTo>
                <a:cubicBezTo>
                  <a:pt x="380644" y="42751"/>
                  <a:pt x="389448" y="58618"/>
                  <a:pt x="393604" y="75474"/>
                </a:cubicBezTo>
                <a:cubicBezTo>
                  <a:pt x="408376" y="66408"/>
                  <a:pt x="425787" y="61434"/>
                  <a:pt x="444360" y="61434"/>
                </a:cubicBezTo>
                <a:cubicBezTo>
                  <a:pt x="471611" y="61434"/>
                  <a:pt x="496360" y="72140"/>
                  <a:pt x="514494" y="89721"/>
                </a:cubicBezTo>
                <a:cubicBezTo>
                  <a:pt x="532075" y="107854"/>
                  <a:pt x="542780" y="132604"/>
                  <a:pt x="542780" y="159854"/>
                </a:cubicBezTo>
                <a:cubicBezTo>
                  <a:pt x="542780" y="178427"/>
                  <a:pt x="537807" y="195839"/>
                  <a:pt x="528740" y="210610"/>
                </a:cubicBezTo>
                <a:cubicBezTo>
                  <a:pt x="545596" y="214766"/>
                  <a:pt x="561463" y="223570"/>
                  <a:pt x="574624" y="2367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4" name="Oval 1973"/>
          <p:cNvSpPr/>
          <p:nvPr/>
        </p:nvSpPr>
        <p:spPr>
          <a:xfrm>
            <a:off x="531499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5" name="Oval 1974"/>
          <p:cNvSpPr/>
          <p:nvPr/>
        </p:nvSpPr>
        <p:spPr>
          <a:xfrm>
            <a:off x="25975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6" name="Oval 1975"/>
          <p:cNvSpPr/>
          <p:nvPr/>
        </p:nvSpPr>
        <p:spPr>
          <a:xfrm>
            <a:off x="89165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7" name="Oval 1976"/>
          <p:cNvSpPr/>
          <p:nvPr/>
        </p:nvSpPr>
        <p:spPr>
          <a:xfrm>
            <a:off x="152356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8" name="Oval 1977"/>
          <p:cNvSpPr/>
          <p:nvPr/>
        </p:nvSpPr>
        <p:spPr>
          <a:xfrm>
            <a:off x="215546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9" name="Oval 1978"/>
          <p:cNvSpPr/>
          <p:nvPr/>
        </p:nvSpPr>
        <p:spPr>
          <a:xfrm>
            <a:off x="278737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0" name="Oval 1979"/>
          <p:cNvSpPr/>
          <p:nvPr/>
        </p:nvSpPr>
        <p:spPr>
          <a:xfrm>
            <a:off x="341927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1" name="Oval 1980"/>
          <p:cNvSpPr/>
          <p:nvPr/>
        </p:nvSpPr>
        <p:spPr>
          <a:xfrm>
            <a:off x="405118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2" name="Oval 1981"/>
          <p:cNvSpPr/>
          <p:nvPr/>
        </p:nvSpPr>
        <p:spPr>
          <a:xfrm>
            <a:off x="468308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3" name="Oval 1982"/>
          <p:cNvSpPr/>
          <p:nvPr/>
        </p:nvSpPr>
        <p:spPr>
          <a:xfrm>
            <a:off x="657880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4" name="Oval 1983"/>
          <p:cNvSpPr/>
          <p:nvPr/>
        </p:nvSpPr>
        <p:spPr>
          <a:xfrm>
            <a:off x="594689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5" name="Oval 1984"/>
          <p:cNvSpPr/>
          <p:nvPr/>
        </p:nvSpPr>
        <p:spPr>
          <a:xfrm>
            <a:off x="784261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6" name="Oval 1985"/>
          <p:cNvSpPr/>
          <p:nvPr/>
        </p:nvSpPr>
        <p:spPr>
          <a:xfrm>
            <a:off x="721070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7" name="Oval 1986"/>
          <p:cNvSpPr/>
          <p:nvPr/>
        </p:nvSpPr>
        <p:spPr>
          <a:xfrm>
            <a:off x="847451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8" name="Teardrop 3"/>
          <p:cNvSpPr/>
          <p:nvPr/>
        </p:nvSpPr>
        <p:spPr>
          <a:xfrm rot="5400000" flipH="1" flipV="1">
            <a:off x="4977107" y="3139272"/>
            <a:ext cx="174630" cy="404830"/>
          </a:xfrm>
          <a:custGeom>
            <a:avLst/>
            <a:gdLst/>
            <a:ahLst/>
            <a:cxnLst/>
            <a:rect l="l" t="t" r="r" b="b"/>
            <a:pathLst>
              <a:path w="232840" h="539773">
                <a:moveTo>
                  <a:pt x="221340" y="269867"/>
                </a:moveTo>
                <a:cubicBezTo>
                  <a:pt x="220851" y="247712"/>
                  <a:pt x="212026" y="225783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3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1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7"/>
                  <a:pt x="157326" y="365540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4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3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4"/>
                </a:lnTo>
                <a:lnTo>
                  <a:pt x="0" y="462727"/>
                </a:lnTo>
                <a:cubicBezTo>
                  <a:pt x="14950" y="487415"/>
                  <a:pt x="42305" y="502981"/>
                  <a:pt x="73296" y="502981"/>
                </a:cubicBezTo>
                <a:cubicBezTo>
                  <a:pt x="97207" y="502981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7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9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90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6"/>
                </a:lnTo>
                <a:cubicBezTo>
                  <a:pt x="118953" y="46085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10"/>
                  <a:pt x="124986" y="35715"/>
                  <a:pt x="143120" y="53296"/>
                </a:cubicBezTo>
                <a:cubicBezTo>
                  <a:pt x="160701" y="71430"/>
                  <a:pt x="171406" y="96180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5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9" name="Teardrop 3"/>
          <p:cNvSpPr/>
          <p:nvPr/>
        </p:nvSpPr>
        <p:spPr>
          <a:xfrm rot="5400000" flipH="1" flipV="1">
            <a:off x="17179" y="3237193"/>
            <a:ext cx="174630" cy="208987"/>
          </a:xfrm>
          <a:custGeom>
            <a:avLst/>
            <a:gdLst/>
            <a:ahLst/>
            <a:cxnLst/>
            <a:rect l="l" t="t" r="r" b="b"/>
            <a:pathLst>
              <a:path w="232840" h="278649">
                <a:moveTo>
                  <a:pt x="232840" y="8776"/>
                </a:moveTo>
                <a:cubicBezTo>
                  <a:pt x="232449" y="34030"/>
                  <a:pt x="222519" y="59101"/>
                  <a:pt x="203250" y="78369"/>
                </a:cubicBezTo>
                <a:cubicBezTo>
                  <a:pt x="190082" y="91537"/>
                  <a:pt x="174206" y="100343"/>
                  <a:pt x="157326" y="104416"/>
                </a:cubicBezTo>
                <a:cubicBezTo>
                  <a:pt x="166417" y="119205"/>
                  <a:pt x="171406" y="136643"/>
                  <a:pt x="171406" y="155247"/>
                </a:cubicBezTo>
                <a:cubicBezTo>
                  <a:pt x="171406" y="182497"/>
                  <a:pt x="160701" y="207247"/>
                  <a:pt x="143120" y="225380"/>
                </a:cubicBezTo>
                <a:cubicBezTo>
                  <a:pt x="124986" y="242961"/>
                  <a:pt x="100237" y="253667"/>
                  <a:pt x="72986" y="253667"/>
                </a:cubicBezTo>
                <a:cubicBezTo>
                  <a:pt x="54383" y="253667"/>
                  <a:pt x="36945" y="248677"/>
                  <a:pt x="22156" y="239586"/>
                </a:cubicBezTo>
                <a:lnTo>
                  <a:pt x="0" y="278649"/>
                </a:lnTo>
                <a:lnTo>
                  <a:pt x="0" y="260595"/>
                </a:lnTo>
                <a:cubicBezTo>
                  <a:pt x="5973" y="252057"/>
                  <a:pt x="9654" y="242433"/>
                  <a:pt x="11467" y="232488"/>
                </a:cubicBezTo>
                <a:lnTo>
                  <a:pt x="0" y="218900"/>
                </a:lnTo>
                <a:lnTo>
                  <a:pt x="0" y="201603"/>
                </a:lnTo>
                <a:cubicBezTo>
                  <a:pt x="14950" y="226291"/>
                  <a:pt x="42305" y="241857"/>
                  <a:pt x="73296" y="241857"/>
                </a:cubicBezTo>
                <a:cubicBezTo>
                  <a:pt x="97207" y="241857"/>
                  <a:pt x="118953" y="232592"/>
                  <a:pt x="134965" y="217271"/>
                </a:cubicBezTo>
                <a:lnTo>
                  <a:pt x="0" y="82306"/>
                </a:lnTo>
                <a:lnTo>
                  <a:pt x="0" y="82216"/>
                </a:lnTo>
                <a:lnTo>
                  <a:pt x="135010" y="217225"/>
                </a:lnTo>
                <a:cubicBezTo>
                  <a:pt x="150331" y="201213"/>
                  <a:pt x="159597" y="179467"/>
                  <a:pt x="159597" y="155556"/>
                </a:cubicBezTo>
                <a:cubicBezTo>
                  <a:pt x="159597" y="105538"/>
                  <a:pt x="119048" y="64989"/>
                  <a:pt x="69030" y="64989"/>
                </a:cubicBezTo>
                <a:cubicBezTo>
                  <a:pt x="49952" y="65355"/>
                  <a:pt x="25806" y="60121"/>
                  <a:pt x="12948" y="46961"/>
                </a:cubicBezTo>
                <a:lnTo>
                  <a:pt x="0" y="66032"/>
                </a:lnTo>
                <a:lnTo>
                  <a:pt x="0" y="46474"/>
                </a:lnTo>
                <a:cubicBezTo>
                  <a:pt x="9193" y="32573"/>
                  <a:pt x="11853" y="16060"/>
                  <a:pt x="9334" y="0"/>
                </a:cubicBezTo>
                <a:lnTo>
                  <a:pt x="17529" y="0"/>
                </a:lnTo>
                <a:cubicBezTo>
                  <a:pt x="21671" y="11094"/>
                  <a:pt x="20740" y="22668"/>
                  <a:pt x="17673" y="33790"/>
                </a:cubicBezTo>
                <a:cubicBezTo>
                  <a:pt x="27631" y="50142"/>
                  <a:pt x="43609" y="53932"/>
                  <a:pt x="69593" y="53433"/>
                </a:cubicBezTo>
                <a:cubicBezTo>
                  <a:pt x="102600" y="53434"/>
                  <a:pt x="131938" y="69140"/>
                  <a:pt x="150227" y="93727"/>
                </a:cubicBezTo>
                <a:cubicBezTo>
                  <a:pt x="166735" y="90718"/>
                  <a:pt x="182357" y="82561"/>
                  <a:pt x="195118" y="69800"/>
                </a:cubicBezTo>
                <a:cubicBezTo>
                  <a:pt x="212026" y="52893"/>
                  <a:pt x="220851" y="30964"/>
                  <a:pt x="221339" y="8808"/>
                </a:cubicBezTo>
                <a:lnTo>
                  <a:pt x="136174" y="8808"/>
                </a:lnTo>
                <a:lnTo>
                  <a:pt x="136173" y="8744"/>
                </a:lnTo>
                <a:lnTo>
                  <a:pt x="221340" y="8744"/>
                </a:lnTo>
                <a:lnTo>
                  <a:pt x="219467" y="0"/>
                </a:lnTo>
                <a:lnTo>
                  <a:pt x="231012" y="0"/>
                </a:lnTo>
                <a:cubicBezTo>
                  <a:pt x="232616" y="2826"/>
                  <a:pt x="232794" y="5800"/>
                  <a:pt x="232840" y="8776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0" name="Teardrop 3"/>
          <p:cNvSpPr/>
          <p:nvPr/>
        </p:nvSpPr>
        <p:spPr>
          <a:xfrm rot="5400000" flipH="1" flipV="1">
            <a:off x="1185676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2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7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3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79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lnTo>
                  <a:pt x="143120" y="53296"/>
                </a:ln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5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1" name="Teardrop 3"/>
          <p:cNvSpPr/>
          <p:nvPr/>
        </p:nvSpPr>
        <p:spPr>
          <a:xfrm rot="5400000" flipH="1" flipV="1">
            <a:off x="1817581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2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79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09"/>
                  <a:pt x="124986" y="35715"/>
                  <a:pt x="143120" y="53296"/>
                </a:cubicBezTo>
                <a:lnTo>
                  <a:pt x="143120" y="53296"/>
                </a:ln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2" name="Teardrop 3"/>
          <p:cNvSpPr/>
          <p:nvPr/>
        </p:nvSpPr>
        <p:spPr>
          <a:xfrm rot="5400000" flipH="1" flipV="1">
            <a:off x="2449486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2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79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09"/>
                  <a:pt x="124986" y="35715"/>
                  <a:pt x="143120" y="53296"/>
                </a:cubicBezTo>
                <a:lnTo>
                  <a:pt x="143120" y="53296"/>
                </a:ln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3" name="Teardrop 3"/>
          <p:cNvSpPr/>
          <p:nvPr/>
        </p:nvSpPr>
        <p:spPr>
          <a:xfrm rot="5400000" flipH="1" flipV="1">
            <a:off x="3081392" y="3139272"/>
            <a:ext cx="174630" cy="404830"/>
          </a:xfrm>
          <a:custGeom>
            <a:avLst/>
            <a:gdLst/>
            <a:ahLst/>
            <a:cxnLst/>
            <a:rect l="l" t="t" r="r" b="b"/>
            <a:pathLst>
              <a:path w="232840" h="539773">
                <a:moveTo>
                  <a:pt x="221340" y="269867"/>
                </a:moveTo>
                <a:cubicBezTo>
                  <a:pt x="220851" y="247712"/>
                  <a:pt x="212026" y="225782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2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1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7"/>
                  <a:pt x="157326" y="365540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4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3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4"/>
                </a:lnTo>
                <a:lnTo>
                  <a:pt x="0" y="462726"/>
                </a:lnTo>
                <a:cubicBezTo>
                  <a:pt x="14950" y="487415"/>
                  <a:pt x="42305" y="502981"/>
                  <a:pt x="73296" y="502981"/>
                </a:cubicBezTo>
                <a:cubicBezTo>
                  <a:pt x="97207" y="502981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7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9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79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09"/>
                  <a:pt x="124986" y="35715"/>
                  <a:pt x="143120" y="53296"/>
                </a:cubicBezTo>
                <a:lnTo>
                  <a:pt x="143120" y="53296"/>
                </a:ln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4" name="Teardrop 3"/>
          <p:cNvSpPr/>
          <p:nvPr/>
        </p:nvSpPr>
        <p:spPr>
          <a:xfrm rot="5400000" flipH="1" flipV="1">
            <a:off x="3713297" y="3139272"/>
            <a:ext cx="174630" cy="404830"/>
          </a:xfrm>
          <a:custGeom>
            <a:avLst/>
            <a:gdLst/>
            <a:ahLst/>
            <a:cxnLst/>
            <a:rect l="l" t="t" r="r" b="b"/>
            <a:pathLst>
              <a:path w="232840" h="539773">
                <a:moveTo>
                  <a:pt x="221340" y="269867"/>
                </a:moveTo>
                <a:cubicBezTo>
                  <a:pt x="220851" y="247712"/>
                  <a:pt x="212026" y="225783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3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1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7"/>
                  <a:pt x="157326" y="365540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4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3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4"/>
                </a:lnTo>
                <a:lnTo>
                  <a:pt x="0" y="462727"/>
                </a:lnTo>
                <a:cubicBezTo>
                  <a:pt x="14950" y="487415"/>
                  <a:pt x="42305" y="502981"/>
                  <a:pt x="73296" y="502981"/>
                </a:cubicBezTo>
                <a:cubicBezTo>
                  <a:pt x="97207" y="502981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7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9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90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6"/>
                </a:lnTo>
                <a:cubicBezTo>
                  <a:pt x="118953" y="46085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10"/>
                  <a:pt x="124986" y="35715"/>
                  <a:pt x="143120" y="53296"/>
                </a:cubicBezTo>
                <a:cubicBezTo>
                  <a:pt x="160701" y="71430"/>
                  <a:pt x="171406" y="96180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5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5" name="Teardrop 3"/>
          <p:cNvSpPr/>
          <p:nvPr/>
        </p:nvSpPr>
        <p:spPr>
          <a:xfrm rot="5400000" flipH="1" flipV="1">
            <a:off x="4345202" y="3139272"/>
            <a:ext cx="174630" cy="404830"/>
          </a:xfrm>
          <a:custGeom>
            <a:avLst/>
            <a:gdLst/>
            <a:ahLst/>
            <a:cxnLst/>
            <a:rect l="l" t="t" r="r" b="b"/>
            <a:pathLst>
              <a:path w="232840" h="539773">
                <a:moveTo>
                  <a:pt x="221340" y="269867"/>
                </a:moveTo>
                <a:cubicBezTo>
                  <a:pt x="220851" y="247712"/>
                  <a:pt x="212026" y="225783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3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1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7"/>
                  <a:pt x="157326" y="365540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4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3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4"/>
                </a:lnTo>
                <a:lnTo>
                  <a:pt x="0" y="462727"/>
                </a:lnTo>
                <a:cubicBezTo>
                  <a:pt x="14950" y="487415"/>
                  <a:pt x="42305" y="502981"/>
                  <a:pt x="73296" y="502981"/>
                </a:cubicBezTo>
                <a:cubicBezTo>
                  <a:pt x="97207" y="502981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7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9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90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6"/>
                </a:lnTo>
                <a:cubicBezTo>
                  <a:pt x="118953" y="46085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10"/>
                  <a:pt x="124986" y="35715"/>
                  <a:pt x="143120" y="53296"/>
                </a:cubicBezTo>
                <a:cubicBezTo>
                  <a:pt x="160701" y="71430"/>
                  <a:pt x="171406" y="96180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5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6" name="Teardrop 3"/>
          <p:cNvSpPr/>
          <p:nvPr/>
        </p:nvSpPr>
        <p:spPr>
          <a:xfrm rot="5400000" flipH="1" flipV="1">
            <a:off x="6240916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2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6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5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09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90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6"/>
                </a:lnTo>
                <a:cubicBezTo>
                  <a:pt x="118953" y="46085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10"/>
                  <a:pt x="124986" y="35715"/>
                  <a:pt x="143120" y="53296"/>
                </a:cubicBezTo>
                <a:cubicBezTo>
                  <a:pt x="160701" y="71430"/>
                  <a:pt x="171406" y="96180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5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7" name="Teardrop 3"/>
          <p:cNvSpPr/>
          <p:nvPr/>
        </p:nvSpPr>
        <p:spPr>
          <a:xfrm rot="5400000" flipH="1" flipV="1">
            <a:off x="5609012" y="3139272"/>
            <a:ext cx="174630" cy="404830"/>
          </a:xfrm>
          <a:custGeom>
            <a:avLst/>
            <a:gdLst/>
            <a:ahLst/>
            <a:cxnLst/>
            <a:rect l="l" t="t" r="r" b="b"/>
            <a:pathLst>
              <a:path w="232840" h="539773">
                <a:moveTo>
                  <a:pt x="221340" y="269867"/>
                </a:moveTo>
                <a:cubicBezTo>
                  <a:pt x="220851" y="247712"/>
                  <a:pt x="212026" y="225783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3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1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7"/>
                  <a:pt x="157326" y="365540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4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3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4"/>
                </a:lnTo>
                <a:lnTo>
                  <a:pt x="0" y="462726"/>
                </a:lnTo>
                <a:cubicBezTo>
                  <a:pt x="14950" y="487415"/>
                  <a:pt x="42305" y="502981"/>
                  <a:pt x="73296" y="502981"/>
                </a:cubicBezTo>
                <a:cubicBezTo>
                  <a:pt x="97207" y="502981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7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9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90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6"/>
                </a:lnTo>
                <a:cubicBezTo>
                  <a:pt x="118953" y="46085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10"/>
                  <a:pt x="124986" y="35715"/>
                  <a:pt x="143120" y="53296"/>
                </a:cubicBezTo>
                <a:cubicBezTo>
                  <a:pt x="160701" y="71430"/>
                  <a:pt x="171406" y="96180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5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8" name="Teardrop 3"/>
          <p:cNvSpPr/>
          <p:nvPr/>
        </p:nvSpPr>
        <p:spPr>
          <a:xfrm rot="5400000" flipH="1" flipV="1">
            <a:off x="7504726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2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6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5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09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49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2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09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9" name="Teardrop 3"/>
          <p:cNvSpPr/>
          <p:nvPr/>
        </p:nvSpPr>
        <p:spPr>
          <a:xfrm rot="5400000" flipH="1" flipV="1">
            <a:off x="6872821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2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6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5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09"/>
                </a:cubicBezTo>
                <a:lnTo>
                  <a:pt x="0" y="539772"/>
                </a:lnTo>
                <a:lnTo>
                  <a:pt x="0" y="521717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49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2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6"/>
                  <a:pt x="5972" y="26608"/>
                  <a:pt x="0" y="18073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09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0" name="Teardrop 3"/>
          <p:cNvSpPr/>
          <p:nvPr/>
        </p:nvSpPr>
        <p:spPr>
          <a:xfrm rot="5400000" flipH="1" flipV="1">
            <a:off x="8768535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2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6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5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09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49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2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09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1" name="Teardrop 3"/>
          <p:cNvSpPr/>
          <p:nvPr/>
        </p:nvSpPr>
        <p:spPr>
          <a:xfrm rot="5400000" flipH="1" flipV="1">
            <a:off x="8136631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2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6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5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09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49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2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6"/>
                  <a:pt x="5972" y="26608"/>
                  <a:pt x="0" y="18073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09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2" name="Teardrop 3"/>
          <p:cNvSpPr/>
          <p:nvPr/>
        </p:nvSpPr>
        <p:spPr>
          <a:xfrm rot="5400000" flipH="1" flipV="1">
            <a:off x="550037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3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8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79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09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lnTo>
                  <a:pt x="143120" y="53296"/>
                </a:ln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3" name="Oval 1651"/>
          <p:cNvSpPr/>
          <p:nvPr/>
        </p:nvSpPr>
        <p:spPr>
          <a:xfrm>
            <a:off x="609465" y="3420989"/>
            <a:ext cx="8273246" cy="8012"/>
          </a:xfrm>
          <a:custGeom>
            <a:avLst/>
            <a:gdLst/>
            <a:ahLst/>
            <a:cxnLst/>
            <a:rect l="l" t="t" r="r" b="b"/>
            <a:pathLst>
              <a:path w="11030995" h="10682">
                <a:moveTo>
                  <a:pt x="10992007" y="0"/>
                </a:moveTo>
                <a:cubicBezTo>
                  <a:pt x="11006265" y="0"/>
                  <a:pt x="11019702" y="3516"/>
                  <a:pt x="11030995" y="10682"/>
                </a:cubicBezTo>
                <a:lnTo>
                  <a:pt x="10953019" y="10682"/>
                </a:lnTo>
                <a:cubicBezTo>
                  <a:pt x="10964312" y="3516"/>
                  <a:pt x="10977749" y="0"/>
                  <a:pt x="10992007" y="0"/>
                </a:cubicBezTo>
                <a:close/>
                <a:moveTo>
                  <a:pt x="10149468" y="0"/>
                </a:moveTo>
                <a:cubicBezTo>
                  <a:pt x="10163726" y="0"/>
                  <a:pt x="10177163" y="3516"/>
                  <a:pt x="10188456" y="10682"/>
                </a:cubicBezTo>
                <a:lnTo>
                  <a:pt x="10110480" y="10682"/>
                </a:lnTo>
                <a:cubicBezTo>
                  <a:pt x="10121773" y="3516"/>
                  <a:pt x="10135210" y="0"/>
                  <a:pt x="10149468" y="0"/>
                </a:cubicBezTo>
                <a:close/>
                <a:moveTo>
                  <a:pt x="9306928" y="0"/>
                </a:moveTo>
                <a:cubicBezTo>
                  <a:pt x="9321186" y="0"/>
                  <a:pt x="9334623" y="3516"/>
                  <a:pt x="9345916" y="10682"/>
                </a:cubicBezTo>
                <a:lnTo>
                  <a:pt x="9267940" y="10682"/>
                </a:lnTo>
                <a:cubicBezTo>
                  <a:pt x="9279233" y="3516"/>
                  <a:pt x="9292670" y="0"/>
                  <a:pt x="9306928" y="0"/>
                </a:cubicBezTo>
                <a:close/>
                <a:moveTo>
                  <a:pt x="8464388" y="0"/>
                </a:moveTo>
                <a:cubicBezTo>
                  <a:pt x="8478646" y="0"/>
                  <a:pt x="8492083" y="3516"/>
                  <a:pt x="8503376" y="10682"/>
                </a:cubicBezTo>
                <a:lnTo>
                  <a:pt x="8425400" y="10682"/>
                </a:lnTo>
                <a:cubicBezTo>
                  <a:pt x="8436693" y="3516"/>
                  <a:pt x="8450130" y="0"/>
                  <a:pt x="8464388" y="0"/>
                </a:cubicBezTo>
                <a:close/>
                <a:moveTo>
                  <a:pt x="7621848" y="0"/>
                </a:moveTo>
                <a:cubicBezTo>
                  <a:pt x="7636106" y="0"/>
                  <a:pt x="7649543" y="3516"/>
                  <a:pt x="7660836" y="10682"/>
                </a:cubicBezTo>
                <a:lnTo>
                  <a:pt x="7582860" y="10682"/>
                </a:lnTo>
                <a:cubicBezTo>
                  <a:pt x="7594153" y="3516"/>
                  <a:pt x="7607590" y="0"/>
                  <a:pt x="7621848" y="0"/>
                </a:cubicBezTo>
                <a:close/>
                <a:moveTo>
                  <a:pt x="6779308" y="0"/>
                </a:moveTo>
                <a:cubicBezTo>
                  <a:pt x="6793566" y="0"/>
                  <a:pt x="6807003" y="3516"/>
                  <a:pt x="6818296" y="10682"/>
                </a:cubicBezTo>
                <a:lnTo>
                  <a:pt x="6740320" y="10682"/>
                </a:lnTo>
                <a:cubicBezTo>
                  <a:pt x="6751613" y="3516"/>
                  <a:pt x="6765050" y="0"/>
                  <a:pt x="6779308" y="0"/>
                </a:cubicBezTo>
                <a:close/>
                <a:moveTo>
                  <a:pt x="5936768" y="0"/>
                </a:moveTo>
                <a:cubicBezTo>
                  <a:pt x="5951026" y="0"/>
                  <a:pt x="5964463" y="3516"/>
                  <a:pt x="5975757" y="10682"/>
                </a:cubicBezTo>
                <a:lnTo>
                  <a:pt x="5897780" y="10682"/>
                </a:lnTo>
                <a:cubicBezTo>
                  <a:pt x="5909073" y="3516"/>
                  <a:pt x="5922510" y="0"/>
                  <a:pt x="5936768" y="0"/>
                </a:cubicBezTo>
                <a:close/>
                <a:moveTo>
                  <a:pt x="5094228" y="0"/>
                </a:moveTo>
                <a:cubicBezTo>
                  <a:pt x="5108486" y="0"/>
                  <a:pt x="5121923" y="3516"/>
                  <a:pt x="5133217" y="10682"/>
                </a:cubicBezTo>
                <a:lnTo>
                  <a:pt x="5055240" y="10682"/>
                </a:lnTo>
                <a:cubicBezTo>
                  <a:pt x="5066533" y="3516"/>
                  <a:pt x="5079970" y="0"/>
                  <a:pt x="5094228" y="0"/>
                </a:cubicBezTo>
                <a:close/>
                <a:moveTo>
                  <a:pt x="4251688" y="0"/>
                </a:moveTo>
                <a:cubicBezTo>
                  <a:pt x="4265946" y="0"/>
                  <a:pt x="4279383" y="3516"/>
                  <a:pt x="4290676" y="10682"/>
                </a:cubicBezTo>
                <a:lnTo>
                  <a:pt x="4212700" y="10682"/>
                </a:lnTo>
                <a:cubicBezTo>
                  <a:pt x="4223993" y="3516"/>
                  <a:pt x="4237430" y="0"/>
                  <a:pt x="4251688" y="0"/>
                </a:cubicBezTo>
                <a:close/>
                <a:moveTo>
                  <a:pt x="3409148" y="0"/>
                </a:moveTo>
                <a:cubicBezTo>
                  <a:pt x="3423406" y="0"/>
                  <a:pt x="3436843" y="3516"/>
                  <a:pt x="3448136" y="10682"/>
                </a:cubicBezTo>
                <a:lnTo>
                  <a:pt x="3370160" y="10682"/>
                </a:lnTo>
                <a:cubicBezTo>
                  <a:pt x="3381453" y="3516"/>
                  <a:pt x="3394890" y="0"/>
                  <a:pt x="3409148" y="0"/>
                </a:cubicBezTo>
                <a:close/>
                <a:moveTo>
                  <a:pt x="2566608" y="0"/>
                </a:moveTo>
                <a:cubicBezTo>
                  <a:pt x="2580866" y="0"/>
                  <a:pt x="2594303" y="3516"/>
                  <a:pt x="2605596" y="10682"/>
                </a:cubicBezTo>
                <a:lnTo>
                  <a:pt x="2527620" y="10682"/>
                </a:lnTo>
                <a:cubicBezTo>
                  <a:pt x="2538913" y="3516"/>
                  <a:pt x="2552350" y="0"/>
                  <a:pt x="2566608" y="0"/>
                </a:cubicBezTo>
                <a:close/>
                <a:moveTo>
                  <a:pt x="1724068" y="0"/>
                </a:moveTo>
                <a:cubicBezTo>
                  <a:pt x="1738326" y="0"/>
                  <a:pt x="1751763" y="3516"/>
                  <a:pt x="1763056" y="10682"/>
                </a:cubicBezTo>
                <a:lnTo>
                  <a:pt x="1685080" y="10682"/>
                </a:lnTo>
                <a:cubicBezTo>
                  <a:pt x="1696373" y="3516"/>
                  <a:pt x="1709810" y="0"/>
                  <a:pt x="1724068" y="0"/>
                </a:cubicBezTo>
                <a:close/>
                <a:moveTo>
                  <a:pt x="881528" y="0"/>
                </a:moveTo>
                <a:cubicBezTo>
                  <a:pt x="895786" y="0"/>
                  <a:pt x="909223" y="3516"/>
                  <a:pt x="920516" y="10682"/>
                </a:cubicBezTo>
                <a:lnTo>
                  <a:pt x="842540" y="10682"/>
                </a:lnTo>
                <a:cubicBezTo>
                  <a:pt x="853833" y="3516"/>
                  <a:pt x="867270" y="0"/>
                  <a:pt x="881528" y="0"/>
                </a:cubicBezTo>
                <a:close/>
                <a:moveTo>
                  <a:pt x="38988" y="0"/>
                </a:moveTo>
                <a:cubicBezTo>
                  <a:pt x="53246" y="0"/>
                  <a:pt x="66683" y="3516"/>
                  <a:pt x="77976" y="10682"/>
                </a:cubicBezTo>
                <a:lnTo>
                  <a:pt x="0" y="10682"/>
                </a:lnTo>
                <a:cubicBezTo>
                  <a:pt x="11293" y="3516"/>
                  <a:pt x="24730" y="0"/>
                  <a:pt x="3898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3720103"/>
            <a:ext cx="5829300" cy="1097280"/>
          </a:xfrm>
        </p:spPr>
        <p:txBody>
          <a:bodyPr anchor="ctr">
            <a:normAutofit/>
          </a:bodyPr>
          <a:lstStyle>
            <a:lvl1pPr algn="r">
              <a:defRPr sz="3750" spc="150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57950" y="3720103"/>
            <a:ext cx="2400300" cy="109728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35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342900" indent="0" algn="ctr">
              <a:buNone/>
              <a:defRPr sz="135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350"/>
            </a:lvl4pPr>
            <a:lvl5pPr marL="1371600" indent="0" algn="ctr">
              <a:buNone/>
              <a:defRPr sz="1350"/>
            </a:lvl5pPr>
            <a:lvl6pPr marL="1714500" indent="0" algn="ctr">
              <a:buNone/>
              <a:defRPr sz="1350"/>
            </a:lvl6pPr>
            <a:lvl7pPr marL="2057400" indent="0" algn="ctr">
              <a:buNone/>
              <a:defRPr sz="1350"/>
            </a:lvl7pPr>
            <a:lvl8pPr marL="2400300" indent="0" algn="ctr">
              <a:buNone/>
              <a:defRPr sz="1350"/>
            </a:lvl8pPr>
            <a:lvl9pPr marL="2743200" indent="0" algn="ctr">
              <a:buNone/>
              <a:defRPr sz="135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6290132" y="3948080"/>
            <a:ext cx="0" cy="6858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3853052"/>
      </p:ext>
    </p:extLst>
  </p:cSld>
  <p:clrMapOvr>
    <a:masterClrMapping/>
  </p:clrMapOvr>
  <p:hf hdr="0" ft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7148399"/>
      </p:ext>
    </p:extLst>
  </p:cSld>
  <p:clrMapOvr>
    <a:masterClrMapping/>
  </p:clrMapOvr>
  <p:hf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" name="Group 525"/>
          <p:cNvGrpSpPr/>
          <p:nvPr/>
        </p:nvGrpSpPr>
        <p:grpSpPr>
          <a:xfrm>
            <a:off x="0" y="315192"/>
            <a:ext cx="9141714" cy="2846623"/>
            <a:chOff x="0" y="420256"/>
            <a:chExt cx="12188952" cy="3795497"/>
          </a:xfrm>
        </p:grpSpPr>
        <p:cxnSp>
          <p:nvCxnSpPr>
            <p:cNvPr id="527" name="Straight Connector 526"/>
            <p:cNvCxnSpPr/>
            <p:nvPr/>
          </p:nvCxnSpPr>
          <p:spPr>
            <a:xfrm>
              <a:off x="0" y="4215753"/>
              <a:ext cx="12188952" cy="0"/>
            </a:xfrm>
            <a:prstGeom prst="line">
              <a:avLst/>
            </a:prstGeom>
            <a:ln w="1397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8" name="Straight Connector 527"/>
            <p:cNvCxnSpPr/>
            <p:nvPr/>
          </p:nvCxnSpPr>
          <p:spPr>
            <a:xfrm>
              <a:off x="0" y="3794032"/>
              <a:ext cx="12188952" cy="0"/>
            </a:xfrm>
            <a:prstGeom prst="line">
              <a:avLst/>
            </a:prstGeom>
            <a:ln w="1397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9" name="Straight Connector 528"/>
            <p:cNvCxnSpPr/>
            <p:nvPr/>
          </p:nvCxnSpPr>
          <p:spPr>
            <a:xfrm>
              <a:off x="0" y="3372310"/>
              <a:ext cx="12188952" cy="0"/>
            </a:xfrm>
            <a:prstGeom prst="line">
              <a:avLst/>
            </a:prstGeom>
            <a:ln w="1397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0" name="Straight Connector 529"/>
            <p:cNvCxnSpPr/>
            <p:nvPr/>
          </p:nvCxnSpPr>
          <p:spPr>
            <a:xfrm>
              <a:off x="0" y="2950588"/>
              <a:ext cx="12188952" cy="0"/>
            </a:xfrm>
            <a:prstGeom prst="line">
              <a:avLst/>
            </a:prstGeom>
            <a:ln w="1397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1" name="Straight Connector 530"/>
            <p:cNvCxnSpPr/>
            <p:nvPr/>
          </p:nvCxnSpPr>
          <p:spPr>
            <a:xfrm>
              <a:off x="0" y="2528866"/>
              <a:ext cx="12188952" cy="0"/>
            </a:xfrm>
            <a:prstGeom prst="line">
              <a:avLst/>
            </a:prstGeom>
            <a:ln w="1397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2" name="Straight Connector 531"/>
            <p:cNvCxnSpPr/>
            <p:nvPr/>
          </p:nvCxnSpPr>
          <p:spPr>
            <a:xfrm>
              <a:off x="0" y="2107144"/>
              <a:ext cx="12188952" cy="0"/>
            </a:xfrm>
            <a:prstGeom prst="line">
              <a:avLst/>
            </a:prstGeom>
            <a:ln w="1397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3" name="Straight Connector 532"/>
            <p:cNvCxnSpPr/>
            <p:nvPr/>
          </p:nvCxnSpPr>
          <p:spPr>
            <a:xfrm>
              <a:off x="0" y="1685422"/>
              <a:ext cx="12188952" cy="0"/>
            </a:xfrm>
            <a:prstGeom prst="line">
              <a:avLst/>
            </a:prstGeom>
            <a:ln w="1397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4" name="Straight Connector 533"/>
            <p:cNvCxnSpPr/>
            <p:nvPr/>
          </p:nvCxnSpPr>
          <p:spPr>
            <a:xfrm>
              <a:off x="0" y="1263700"/>
              <a:ext cx="12188952" cy="0"/>
            </a:xfrm>
            <a:prstGeom prst="line">
              <a:avLst/>
            </a:prstGeom>
            <a:ln w="1397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5" name="Straight Connector 534"/>
            <p:cNvCxnSpPr/>
            <p:nvPr/>
          </p:nvCxnSpPr>
          <p:spPr>
            <a:xfrm>
              <a:off x="0" y="841978"/>
              <a:ext cx="12188952" cy="0"/>
            </a:xfrm>
            <a:prstGeom prst="line">
              <a:avLst/>
            </a:prstGeom>
            <a:ln w="1397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6" name="Straight Connector 535"/>
            <p:cNvCxnSpPr/>
            <p:nvPr/>
          </p:nvCxnSpPr>
          <p:spPr>
            <a:xfrm>
              <a:off x="0" y="420256"/>
              <a:ext cx="12188952" cy="0"/>
            </a:xfrm>
            <a:prstGeom prst="line">
              <a:avLst/>
            </a:prstGeom>
            <a:ln w="1397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7" name="Rectangle 379"/>
          <p:cNvSpPr/>
          <p:nvPr/>
        </p:nvSpPr>
        <p:spPr>
          <a:xfrm rot="18900000" flipV="1">
            <a:off x="7084365" y="-724094"/>
            <a:ext cx="10288" cy="4869915"/>
          </a:xfrm>
          <a:custGeom>
            <a:avLst/>
            <a:gdLst/>
            <a:ahLst/>
            <a:cxnLst/>
            <a:rect l="l" t="t" r="r" b="b"/>
            <a:pathLst>
              <a:path w="13717" h="6493220">
                <a:moveTo>
                  <a:pt x="1" y="6493220"/>
                </a:moveTo>
                <a:lnTo>
                  <a:pt x="13717" y="6479504"/>
                </a:lnTo>
                <a:lnTo>
                  <a:pt x="13716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38" name="Rectangle 56"/>
          <p:cNvSpPr/>
          <p:nvPr/>
        </p:nvSpPr>
        <p:spPr>
          <a:xfrm>
            <a:off x="0" y="0"/>
            <a:ext cx="8862405" cy="3429003"/>
          </a:xfrm>
          <a:custGeom>
            <a:avLst/>
            <a:gdLst/>
            <a:ahLst/>
            <a:cxnLst/>
            <a:rect l="l" t="t" r="r" b="b"/>
            <a:pathLst>
              <a:path w="11816540" h="4572004">
                <a:moveTo>
                  <a:pt x="11802824" y="4"/>
                </a:moveTo>
                <a:lnTo>
                  <a:pt x="11816540" y="4"/>
                </a:lnTo>
                <a:lnTo>
                  <a:pt x="11816540" y="4572004"/>
                </a:lnTo>
                <a:lnTo>
                  <a:pt x="11802824" y="4572004"/>
                </a:lnTo>
                <a:close/>
                <a:moveTo>
                  <a:pt x="5901406" y="4"/>
                </a:moveTo>
                <a:lnTo>
                  <a:pt x="5915122" y="4"/>
                </a:lnTo>
                <a:lnTo>
                  <a:pt x="5915122" y="4572004"/>
                </a:lnTo>
                <a:lnTo>
                  <a:pt x="5901406" y="4572004"/>
                </a:lnTo>
                <a:close/>
                <a:moveTo>
                  <a:pt x="10959754" y="3"/>
                </a:moveTo>
                <a:lnTo>
                  <a:pt x="10973470" y="3"/>
                </a:lnTo>
                <a:lnTo>
                  <a:pt x="10973470" y="4572003"/>
                </a:lnTo>
                <a:lnTo>
                  <a:pt x="10959754" y="4572003"/>
                </a:lnTo>
                <a:close/>
                <a:moveTo>
                  <a:pt x="5058348" y="3"/>
                </a:moveTo>
                <a:lnTo>
                  <a:pt x="5072064" y="3"/>
                </a:lnTo>
                <a:lnTo>
                  <a:pt x="5072064" y="4572003"/>
                </a:lnTo>
                <a:lnTo>
                  <a:pt x="5058348" y="4572003"/>
                </a:lnTo>
                <a:close/>
                <a:moveTo>
                  <a:pt x="11381283" y="2"/>
                </a:moveTo>
                <a:lnTo>
                  <a:pt x="11394999" y="2"/>
                </a:lnTo>
                <a:lnTo>
                  <a:pt x="11394999" y="4572002"/>
                </a:lnTo>
                <a:lnTo>
                  <a:pt x="11381283" y="4572002"/>
                </a:lnTo>
                <a:close/>
                <a:moveTo>
                  <a:pt x="10538225" y="2"/>
                </a:moveTo>
                <a:lnTo>
                  <a:pt x="10551941" y="2"/>
                </a:lnTo>
                <a:lnTo>
                  <a:pt x="10551941" y="4572002"/>
                </a:lnTo>
                <a:lnTo>
                  <a:pt x="10538225" y="4572002"/>
                </a:lnTo>
                <a:close/>
                <a:moveTo>
                  <a:pt x="10116696" y="2"/>
                </a:moveTo>
                <a:lnTo>
                  <a:pt x="10130412" y="2"/>
                </a:lnTo>
                <a:lnTo>
                  <a:pt x="10130412" y="4572002"/>
                </a:lnTo>
                <a:lnTo>
                  <a:pt x="10116696" y="4572002"/>
                </a:lnTo>
                <a:close/>
                <a:moveTo>
                  <a:pt x="6322935" y="2"/>
                </a:moveTo>
                <a:lnTo>
                  <a:pt x="6336651" y="2"/>
                </a:lnTo>
                <a:lnTo>
                  <a:pt x="6336651" y="4572002"/>
                </a:lnTo>
                <a:lnTo>
                  <a:pt x="6322935" y="4572002"/>
                </a:lnTo>
                <a:close/>
                <a:moveTo>
                  <a:pt x="5479877" y="2"/>
                </a:moveTo>
                <a:lnTo>
                  <a:pt x="5493593" y="2"/>
                </a:lnTo>
                <a:lnTo>
                  <a:pt x="5493593" y="4572002"/>
                </a:lnTo>
                <a:lnTo>
                  <a:pt x="5479877" y="4572002"/>
                </a:lnTo>
                <a:close/>
                <a:moveTo>
                  <a:pt x="4636819" y="2"/>
                </a:moveTo>
                <a:lnTo>
                  <a:pt x="4650535" y="2"/>
                </a:lnTo>
                <a:lnTo>
                  <a:pt x="4650535" y="4572002"/>
                </a:lnTo>
                <a:lnTo>
                  <a:pt x="4636819" y="4572002"/>
                </a:lnTo>
                <a:close/>
                <a:moveTo>
                  <a:pt x="4215290" y="2"/>
                </a:moveTo>
                <a:lnTo>
                  <a:pt x="4229006" y="2"/>
                </a:lnTo>
                <a:lnTo>
                  <a:pt x="4229006" y="4572002"/>
                </a:lnTo>
                <a:lnTo>
                  <a:pt x="4215290" y="4572002"/>
                </a:lnTo>
                <a:close/>
                <a:moveTo>
                  <a:pt x="421529" y="2"/>
                </a:moveTo>
                <a:lnTo>
                  <a:pt x="435245" y="2"/>
                </a:lnTo>
                <a:lnTo>
                  <a:pt x="435245" y="4572002"/>
                </a:lnTo>
                <a:lnTo>
                  <a:pt x="421529" y="4572002"/>
                </a:lnTo>
                <a:close/>
                <a:moveTo>
                  <a:pt x="0" y="2"/>
                </a:moveTo>
                <a:lnTo>
                  <a:pt x="13716" y="2"/>
                </a:lnTo>
                <a:lnTo>
                  <a:pt x="13716" y="4572002"/>
                </a:lnTo>
                <a:lnTo>
                  <a:pt x="0" y="4572002"/>
                </a:lnTo>
                <a:close/>
                <a:moveTo>
                  <a:pt x="9273638" y="1"/>
                </a:moveTo>
                <a:lnTo>
                  <a:pt x="9287354" y="1"/>
                </a:lnTo>
                <a:lnTo>
                  <a:pt x="9287354" y="4572001"/>
                </a:lnTo>
                <a:lnTo>
                  <a:pt x="9273638" y="4572001"/>
                </a:lnTo>
                <a:close/>
                <a:moveTo>
                  <a:pt x="3372232" y="1"/>
                </a:moveTo>
                <a:lnTo>
                  <a:pt x="3385948" y="1"/>
                </a:lnTo>
                <a:lnTo>
                  <a:pt x="3385948" y="4572001"/>
                </a:lnTo>
                <a:lnTo>
                  <a:pt x="3372232" y="4572001"/>
                </a:lnTo>
                <a:close/>
                <a:moveTo>
                  <a:pt x="9695167" y="0"/>
                </a:moveTo>
                <a:lnTo>
                  <a:pt x="9708883" y="0"/>
                </a:lnTo>
                <a:lnTo>
                  <a:pt x="9708883" y="4572000"/>
                </a:lnTo>
                <a:lnTo>
                  <a:pt x="9695167" y="4572000"/>
                </a:lnTo>
                <a:close/>
                <a:moveTo>
                  <a:pt x="8852109" y="0"/>
                </a:moveTo>
                <a:lnTo>
                  <a:pt x="8865825" y="0"/>
                </a:lnTo>
                <a:lnTo>
                  <a:pt x="8865825" y="4572000"/>
                </a:lnTo>
                <a:lnTo>
                  <a:pt x="8852109" y="4572000"/>
                </a:lnTo>
                <a:close/>
                <a:moveTo>
                  <a:pt x="8430580" y="0"/>
                </a:moveTo>
                <a:lnTo>
                  <a:pt x="8444296" y="0"/>
                </a:lnTo>
                <a:lnTo>
                  <a:pt x="8444296" y="4572000"/>
                </a:lnTo>
                <a:lnTo>
                  <a:pt x="8430580" y="4572000"/>
                </a:lnTo>
                <a:close/>
                <a:moveTo>
                  <a:pt x="8009051" y="0"/>
                </a:moveTo>
                <a:lnTo>
                  <a:pt x="8022767" y="0"/>
                </a:lnTo>
                <a:lnTo>
                  <a:pt x="8022767" y="4572000"/>
                </a:lnTo>
                <a:lnTo>
                  <a:pt x="8009051" y="4572000"/>
                </a:lnTo>
                <a:close/>
                <a:moveTo>
                  <a:pt x="7587522" y="0"/>
                </a:moveTo>
                <a:lnTo>
                  <a:pt x="7601238" y="0"/>
                </a:lnTo>
                <a:lnTo>
                  <a:pt x="7601238" y="4572000"/>
                </a:lnTo>
                <a:lnTo>
                  <a:pt x="7587522" y="4572000"/>
                </a:lnTo>
                <a:close/>
                <a:moveTo>
                  <a:pt x="7165993" y="0"/>
                </a:moveTo>
                <a:lnTo>
                  <a:pt x="7179709" y="0"/>
                </a:lnTo>
                <a:lnTo>
                  <a:pt x="7179709" y="4572000"/>
                </a:lnTo>
                <a:lnTo>
                  <a:pt x="7165993" y="4572000"/>
                </a:lnTo>
                <a:close/>
                <a:moveTo>
                  <a:pt x="6744464" y="0"/>
                </a:moveTo>
                <a:lnTo>
                  <a:pt x="6758180" y="0"/>
                </a:lnTo>
                <a:lnTo>
                  <a:pt x="6758180" y="4572000"/>
                </a:lnTo>
                <a:lnTo>
                  <a:pt x="6744464" y="4572000"/>
                </a:lnTo>
                <a:close/>
                <a:moveTo>
                  <a:pt x="3793761" y="0"/>
                </a:moveTo>
                <a:lnTo>
                  <a:pt x="3807477" y="0"/>
                </a:lnTo>
                <a:lnTo>
                  <a:pt x="3807477" y="4572000"/>
                </a:lnTo>
                <a:lnTo>
                  <a:pt x="3793761" y="4572000"/>
                </a:lnTo>
                <a:close/>
                <a:moveTo>
                  <a:pt x="2950703" y="0"/>
                </a:moveTo>
                <a:lnTo>
                  <a:pt x="2964419" y="0"/>
                </a:lnTo>
                <a:lnTo>
                  <a:pt x="2964419" y="4572000"/>
                </a:lnTo>
                <a:lnTo>
                  <a:pt x="2950703" y="4572000"/>
                </a:lnTo>
                <a:close/>
                <a:moveTo>
                  <a:pt x="2529174" y="0"/>
                </a:moveTo>
                <a:lnTo>
                  <a:pt x="2542890" y="0"/>
                </a:lnTo>
                <a:lnTo>
                  <a:pt x="2542890" y="4572000"/>
                </a:lnTo>
                <a:lnTo>
                  <a:pt x="2529174" y="4572000"/>
                </a:lnTo>
                <a:close/>
                <a:moveTo>
                  <a:pt x="2107645" y="0"/>
                </a:moveTo>
                <a:lnTo>
                  <a:pt x="2121361" y="0"/>
                </a:lnTo>
                <a:lnTo>
                  <a:pt x="2121361" y="4572000"/>
                </a:lnTo>
                <a:lnTo>
                  <a:pt x="2107645" y="4572000"/>
                </a:lnTo>
                <a:close/>
                <a:moveTo>
                  <a:pt x="1686116" y="0"/>
                </a:moveTo>
                <a:lnTo>
                  <a:pt x="1699832" y="0"/>
                </a:lnTo>
                <a:lnTo>
                  <a:pt x="1699832" y="4572000"/>
                </a:lnTo>
                <a:lnTo>
                  <a:pt x="1686116" y="4572000"/>
                </a:lnTo>
                <a:close/>
                <a:moveTo>
                  <a:pt x="1264587" y="0"/>
                </a:moveTo>
                <a:lnTo>
                  <a:pt x="1278303" y="0"/>
                </a:lnTo>
                <a:lnTo>
                  <a:pt x="1278303" y="4572000"/>
                </a:lnTo>
                <a:lnTo>
                  <a:pt x="1264587" y="4572000"/>
                </a:lnTo>
                <a:close/>
                <a:moveTo>
                  <a:pt x="843058" y="0"/>
                </a:moveTo>
                <a:lnTo>
                  <a:pt x="856774" y="0"/>
                </a:lnTo>
                <a:lnTo>
                  <a:pt x="856774" y="4572000"/>
                </a:lnTo>
                <a:lnTo>
                  <a:pt x="843058" y="45720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39" name="Rectangle 87"/>
          <p:cNvSpPr/>
          <p:nvPr/>
        </p:nvSpPr>
        <p:spPr>
          <a:xfrm rot="2700000">
            <a:off x="1733432" y="-725286"/>
            <a:ext cx="10287" cy="4927721"/>
          </a:xfrm>
          <a:custGeom>
            <a:avLst/>
            <a:gdLst/>
            <a:ahLst/>
            <a:cxnLst/>
            <a:rect l="l" t="t" r="r" b="b"/>
            <a:pathLst>
              <a:path w="13716" h="6570294">
                <a:moveTo>
                  <a:pt x="0" y="6556578"/>
                </a:moveTo>
                <a:lnTo>
                  <a:pt x="13716" y="6570294"/>
                </a:lnTo>
                <a:lnTo>
                  <a:pt x="13716" y="6570294"/>
                </a:lnTo>
                <a:lnTo>
                  <a:pt x="0" y="6556578"/>
                </a:lnTo>
                <a:close/>
                <a:moveTo>
                  <a:pt x="0" y="13716"/>
                </a:moveTo>
                <a:lnTo>
                  <a:pt x="13716" y="0"/>
                </a:lnTo>
                <a:lnTo>
                  <a:pt x="13716" y="6465786"/>
                </a:lnTo>
                <a:lnTo>
                  <a:pt x="0" y="647950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40" name="Rectangle 88"/>
          <p:cNvSpPr/>
          <p:nvPr/>
        </p:nvSpPr>
        <p:spPr>
          <a:xfrm rot="2700000">
            <a:off x="2389895" y="-715313"/>
            <a:ext cx="10287" cy="4859627"/>
          </a:xfrm>
          <a:custGeom>
            <a:avLst/>
            <a:gdLst/>
            <a:ahLst/>
            <a:cxnLst/>
            <a:rect l="l" t="t" r="r" b="b"/>
            <a:pathLst>
              <a:path w="13716" h="6479503">
                <a:moveTo>
                  <a:pt x="0" y="13716"/>
                </a:moveTo>
                <a:lnTo>
                  <a:pt x="13716" y="0"/>
                </a:lnTo>
                <a:lnTo>
                  <a:pt x="13716" y="6465786"/>
                </a:lnTo>
                <a:lnTo>
                  <a:pt x="0" y="6479503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41" name="Rectangle 89"/>
          <p:cNvSpPr/>
          <p:nvPr/>
        </p:nvSpPr>
        <p:spPr>
          <a:xfrm rot="2700000">
            <a:off x="3022285" y="-715312"/>
            <a:ext cx="10287" cy="4859627"/>
          </a:xfrm>
          <a:custGeom>
            <a:avLst/>
            <a:gdLst/>
            <a:ahLst/>
            <a:cxnLst/>
            <a:rect l="l" t="t" r="r" b="b"/>
            <a:pathLst>
              <a:path w="13716" h="6479503">
                <a:moveTo>
                  <a:pt x="0" y="13716"/>
                </a:moveTo>
                <a:lnTo>
                  <a:pt x="13716" y="0"/>
                </a:lnTo>
                <a:lnTo>
                  <a:pt x="13716" y="6465787"/>
                </a:lnTo>
                <a:lnTo>
                  <a:pt x="0" y="6479503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42" name="Rectangle 90"/>
          <p:cNvSpPr/>
          <p:nvPr/>
        </p:nvSpPr>
        <p:spPr>
          <a:xfrm rot="2700000">
            <a:off x="3654674" y="-715312"/>
            <a:ext cx="10287" cy="4859627"/>
          </a:xfrm>
          <a:custGeom>
            <a:avLst/>
            <a:gdLst/>
            <a:ahLst/>
            <a:cxnLst/>
            <a:rect l="l" t="t" r="r" b="b"/>
            <a:pathLst>
              <a:path w="13716" h="6479503">
                <a:moveTo>
                  <a:pt x="0" y="13716"/>
                </a:moveTo>
                <a:lnTo>
                  <a:pt x="13716" y="0"/>
                </a:lnTo>
                <a:lnTo>
                  <a:pt x="13716" y="6465786"/>
                </a:lnTo>
                <a:lnTo>
                  <a:pt x="0" y="6479503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43" name="Rectangle 91"/>
          <p:cNvSpPr/>
          <p:nvPr/>
        </p:nvSpPr>
        <p:spPr>
          <a:xfrm rot="2700000">
            <a:off x="4287065" y="-715312"/>
            <a:ext cx="10287" cy="4859626"/>
          </a:xfrm>
          <a:custGeom>
            <a:avLst/>
            <a:gdLst/>
            <a:ahLst/>
            <a:cxnLst/>
            <a:rect l="l" t="t" r="r" b="b"/>
            <a:pathLst>
              <a:path w="13716" h="6479501">
                <a:moveTo>
                  <a:pt x="0" y="13716"/>
                </a:moveTo>
                <a:lnTo>
                  <a:pt x="13716" y="0"/>
                </a:lnTo>
                <a:lnTo>
                  <a:pt x="13716" y="6465785"/>
                </a:lnTo>
                <a:lnTo>
                  <a:pt x="0" y="6479501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44" name="Rectangle 92"/>
          <p:cNvSpPr/>
          <p:nvPr/>
        </p:nvSpPr>
        <p:spPr>
          <a:xfrm rot="2700000">
            <a:off x="4919454" y="-715313"/>
            <a:ext cx="10287" cy="4859627"/>
          </a:xfrm>
          <a:custGeom>
            <a:avLst/>
            <a:gdLst/>
            <a:ahLst/>
            <a:cxnLst/>
            <a:rect l="l" t="t" r="r" b="b"/>
            <a:pathLst>
              <a:path w="13716" h="6479502">
                <a:moveTo>
                  <a:pt x="0" y="13716"/>
                </a:moveTo>
                <a:lnTo>
                  <a:pt x="13716" y="0"/>
                </a:lnTo>
                <a:lnTo>
                  <a:pt x="13715" y="6465787"/>
                </a:lnTo>
                <a:lnTo>
                  <a:pt x="0" y="647950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45" name="Rectangle 93"/>
          <p:cNvSpPr/>
          <p:nvPr/>
        </p:nvSpPr>
        <p:spPr>
          <a:xfrm rot="2700000">
            <a:off x="5551843" y="-708039"/>
            <a:ext cx="10288" cy="4859627"/>
          </a:xfrm>
          <a:custGeom>
            <a:avLst/>
            <a:gdLst/>
            <a:ahLst/>
            <a:cxnLst/>
            <a:rect l="l" t="t" r="r" b="b"/>
            <a:pathLst>
              <a:path w="13717" h="6479502">
                <a:moveTo>
                  <a:pt x="0" y="13716"/>
                </a:moveTo>
                <a:lnTo>
                  <a:pt x="13717" y="0"/>
                </a:lnTo>
                <a:lnTo>
                  <a:pt x="13716" y="6465787"/>
                </a:lnTo>
                <a:lnTo>
                  <a:pt x="1" y="647950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46" name="Rectangle 94"/>
          <p:cNvSpPr/>
          <p:nvPr/>
        </p:nvSpPr>
        <p:spPr>
          <a:xfrm rot="2700000">
            <a:off x="6184233" y="-715313"/>
            <a:ext cx="10287" cy="4859627"/>
          </a:xfrm>
          <a:custGeom>
            <a:avLst/>
            <a:gdLst/>
            <a:ahLst/>
            <a:cxnLst/>
            <a:rect l="l" t="t" r="r" b="b"/>
            <a:pathLst>
              <a:path w="13716" h="6479502">
                <a:moveTo>
                  <a:pt x="0" y="13716"/>
                </a:moveTo>
                <a:lnTo>
                  <a:pt x="13716" y="0"/>
                </a:lnTo>
                <a:lnTo>
                  <a:pt x="13715" y="6465787"/>
                </a:lnTo>
                <a:lnTo>
                  <a:pt x="0" y="647950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47" name="Rectangle 95"/>
          <p:cNvSpPr/>
          <p:nvPr/>
        </p:nvSpPr>
        <p:spPr>
          <a:xfrm rot="2700000">
            <a:off x="6816624" y="-715312"/>
            <a:ext cx="10288" cy="4859627"/>
          </a:xfrm>
          <a:custGeom>
            <a:avLst/>
            <a:gdLst/>
            <a:ahLst/>
            <a:cxnLst/>
            <a:rect l="l" t="t" r="r" b="b"/>
            <a:pathLst>
              <a:path w="13717" h="6479503">
                <a:moveTo>
                  <a:pt x="13717" y="0"/>
                </a:moveTo>
                <a:lnTo>
                  <a:pt x="13716" y="6465787"/>
                </a:lnTo>
                <a:lnTo>
                  <a:pt x="0" y="6479503"/>
                </a:lnTo>
                <a:lnTo>
                  <a:pt x="1" y="13717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48" name="Rectangle 96"/>
          <p:cNvSpPr/>
          <p:nvPr/>
        </p:nvSpPr>
        <p:spPr>
          <a:xfrm rot="2700000">
            <a:off x="7434672" y="-680697"/>
            <a:ext cx="10287" cy="4819072"/>
          </a:xfrm>
          <a:custGeom>
            <a:avLst/>
            <a:gdLst/>
            <a:ahLst/>
            <a:cxnLst/>
            <a:rect l="l" t="t" r="r" b="b"/>
            <a:pathLst>
              <a:path w="13716" h="6425429">
                <a:moveTo>
                  <a:pt x="0" y="0"/>
                </a:moveTo>
                <a:lnTo>
                  <a:pt x="13716" y="13717"/>
                </a:lnTo>
                <a:lnTo>
                  <a:pt x="13716" y="6411713"/>
                </a:lnTo>
                <a:lnTo>
                  <a:pt x="0" y="6425429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49" name="Rectangle 97"/>
          <p:cNvSpPr/>
          <p:nvPr/>
        </p:nvSpPr>
        <p:spPr>
          <a:xfrm rot="2700000">
            <a:off x="7750869" y="82666"/>
            <a:ext cx="10288" cy="3924736"/>
          </a:xfrm>
          <a:custGeom>
            <a:avLst/>
            <a:gdLst/>
            <a:ahLst/>
            <a:cxnLst/>
            <a:rect l="l" t="t" r="r" b="b"/>
            <a:pathLst>
              <a:path w="13717" h="5232981">
                <a:moveTo>
                  <a:pt x="0" y="0"/>
                </a:moveTo>
                <a:lnTo>
                  <a:pt x="13717" y="13716"/>
                </a:lnTo>
                <a:lnTo>
                  <a:pt x="13717" y="5219264"/>
                </a:lnTo>
                <a:lnTo>
                  <a:pt x="1" y="5232981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50" name="Rectangle 98"/>
          <p:cNvSpPr/>
          <p:nvPr/>
        </p:nvSpPr>
        <p:spPr>
          <a:xfrm rot="2700000">
            <a:off x="8067063" y="846028"/>
            <a:ext cx="10287" cy="3030403"/>
          </a:xfrm>
          <a:custGeom>
            <a:avLst/>
            <a:gdLst/>
            <a:ahLst/>
            <a:cxnLst/>
            <a:rect l="l" t="t" r="r" b="b"/>
            <a:pathLst>
              <a:path w="13716" h="4040537">
                <a:moveTo>
                  <a:pt x="0" y="0"/>
                </a:moveTo>
                <a:lnTo>
                  <a:pt x="13716" y="13716"/>
                </a:lnTo>
                <a:lnTo>
                  <a:pt x="13715" y="4026822"/>
                </a:lnTo>
                <a:lnTo>
                  <a:pt x="1" y="4040537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51" name="Rectangle 99"/>
          <p:cNvSpPr/>
          <p:nvPr/>
        </p:nvSpPr>
        <p:spPr>
          <a:xfrm rot="2700000">
            <a:off x="8383259" y="1609390"/>
            <a:ext cx="10287" cy="2136068"/>
          </a:xfrm>
          <a:custGeom>
            <a:avLst/>
            <a:gdLst/>
            <a:ahLst/>
            <a:cxnLst/>
            <a:rect l="l" t="t" r="r" b="b"/>
            <a:pathLst>
              <a:path w="13716" h="2848091">
                <a:moveTo>
                  <a:pt x="0" y="0"/>
                </a:moveTo>
                <a:lnTo>
                  <a:pt x="13716" y="13716"/>
                </a:lnTo>
                <a:lnTo>
                  <a:pt x="13715" y="2834375"/>
                </a:lnTo>
                <a:lnTo>
                  <a:pt x="0" y="2848091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52" name="Rectangle 100"/>
          <p:cNvSpPr/>
          <p:nvPr/>
        </p:nvSpPr>
        <p:spPr>
          <a:xfrm rot="2700000">
            <a:off x="8699455" y="2372752"/>
            <a:ext cx="10286" cy="1241733"/>
          </a:xfrm>
          <a:custGeom>
            <a:avLst/>
            <a:gdLst/>
            <a:ahLst/>
            <a:cxnLst/>
            <a:rect l="l" t="t" r="r" b="b"/>
            <a:pathLst>
              <a:path w="13715" h="1655644">
                <a:moveTo>
                  <a:pt x="0" y="0"/>
                </a:moveTo>
                <a:lnTo>
                  <a:pt x="13715" y="13716"/>
                </a:lnTo>
                <a:lnTo>
                  <a:pt x="13715" y="1641929"/>
                </a:lnTo>
                <a:lnTo>
                  <a:pt x="0" y="1655644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53" name="Rectangle 101"/>
          <p:cNvSpPr/>
          <p:nvPr/>
        </p:nvSpPr>
        <p:spPr>
          <a:xfrm rot="2700000">
            <a:off x="9015652" y="3136120"/>
            <a:ext cx="10286" cy="347392"/>
          </a:xfrm>
          <a:custGeom>
            <a:avLst/>
            <a:gdLst/>
            <a:ahLst/>
            <a:cxnLst/>
            <a:rect l="l" t="t" r="r" b="b"/>
            <a:pathLst>
              <a:path w="13715" h="463189">
                <a:moveTo>
                  <a:pt x="1" y="0"/>
                </a:moveTo>
                <a:lnTo>
                  <a:pt x="13715" y="13716"/>
                </a:lnTo>
                <a:lnTo>
                  <a:pt x="13715" y="449474"/>
                </a:lnTo>
                <a:lnTo>
                  <a:pt x="0" y="463189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54" name="Rectangle 102"/>
          <p:cNvSpPr/>
          <p:nvPr/>
        </p:nvSpPr>
        <p:spPr>
          <a:xfrm rot="2700000">
            <a:off x="152458" y="-70424"/>
            <a:ext cx="10287" cy="456051"/>
          </a:xfrm>
          <a:custGeom>
            <a:avLst/>
            <a:gdLst/>
            <a:ahLst/>
            <a:cxnLst/>
            <a:rect l="l" t="t" r="r" b="b"/>
            <a:pathLst>
              <a:path w="13716" h="608068">
                <a:moveTo>
                  <a:pt x="0" y="13716"/>
                </a:moveTo>
                <a:lnTo>
                  <a:pt x="13716" y="0"/>
                </a:lnTo>
                <a:lnTo>
                  <a:pt x="13716" y="608068"/>
                </a:lnTo>
                <a:lnTo>
                  <a:pt x="0" y="59435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55" name="Rectangle 103"/>
          <p:cNvSpPr/>
          <p:nvPr/>
        </p:nvSpPr>
        <p:spPr>
          <a:xfrm rot="2700000">
            <a:off x="468653" y="-201397"/>
            <a:ext cx="10287" cy="1350386"/>
          </a:xfrm>
          <a:custGeom>
            <a:avLst/>
            <a:gdLst/>
            <a:ahLst/>
            <a:cxnLst/>
            <a:rect l="l" t="t" r="r" b="b"/>
            <a:pathLst>
              <a:path w="13716" h="1800514">
                <a:moveTo>
                  <a:pt x="0" y="13716"/>
                </a:moveTo>
                <a:lnTo>
                  <a:pt x="13716" y="0"/>
                </a:lnTo>
                <a:lnTo>
                  <a:pt x="13716" y="1800514"/>
                </a:lnTo>
                <a:lnTo>
                  <a:pt x="0" y="1786798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56" name="Rectangle 104"/>
          <p:cNvSpPr/>
          <p:nvPr/>
        </p:nvSpPr>
        <p:spPr>
          <a:xfrm rot="2700000">
            <a:off x="784847" y="-332369"/>
            <a:ext cx="10287" cy="2244719"/>
          </a:xfrm>
          <a:custGeom>
            <a:avLst/>
            <a:gdLst/>
            <a:ahLst/>
            <a:cxnLst/>
            <a:rect l="l" t="t" r="r" b="b"/>
            <a:pathLst>
              <a:path w="13716" h="2992958">
                <a:moveTo>
                  <a:pt x="0" y="13716"/>
                </a:moveTo>
                <a:lnTo>
                  <a:pt x="13716" y="0"/>
                </a:lnTo>
                <a:lnTo>
                  <a:pt x="13716" y="2992958"/>
                </a:lnTo>
                <a:lnTo>
                  <a:pt x="0" y="297924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57" name="Rectangle 105"/>
          <p:cNvSpPr/>
          <p:nvPr/>
        </p:nvSpPr>
        <p:spPr>
          <a:xfrm rot="2700000">
            <a:off x="1101042" y="-463341"/>
            <a:ext cx="10287" cy="3139053"/>
          </a:xfrm>
          <a:custGeom>
            <a:avLst/>
            <a:gdLst/>
            <a:ahLst/>
            <a:cxnLst/>
            <a:rect l="l" t="t" r="r" b="b"/>
            <a:pathLst>
              <a:path w="13716" h="4185404">
                <a:moveTo>
                  <a:pt x="0" y="13716"/>
                </a:moveTo>
                <a:lnTo>
                  <a:pt x="13716" y="0"/>
                </a:lnTo>
                <a:lnTo>
                  <a:pt x="13716" y="4185404"/>
                </a:lnTo>
                <a:lnTo>
                  <a:pt x="0" y="4171688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58" name="Rectangle 106"/>
          <p:cNvSpPr/>
          <p:nvPr/>
        </p:nvSpPr>
        <p:spPr>
          <a:xfrm rot="2700000">
            <a:off x="1417237" y="-594312"/>
            <a:ext cx="10287" cy="4033387"/>
          </a:xfrm>
          <a:custGeom>
            <a:avLst/>
            <a:gdLst/>
            <a:ahLst/>
            <a:cxnLst/>
            <a:rect l="l" t="t" r="r" b="b"/>
            <a:pathLst>
              <a:path w="13716" h="5377849">
                <a:moveTo>
                  <a:pt x="0" y="13716"/>
                </a:moveTo>
                <a:lnTo>
                  <a:pt x="13716" y="0"/>
                </a:lnTo>
                <a:lnTo>
                  <a:pt x="13716" y="5377849"/>
                </a:lnTo>
                <a:lnTo>
                  <a:pt x="0" y="5364133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59" name="Rectangle 148"/>
          <p:cNvSpPr/>
          <p:nvPr/>
        </p:nvSpPr>
        <p:spPr>
          <a:xfrm rot="18900000" flipV="1">
            <a:off x="1552927" y="-337657"/>
            <a:ext cx="10287" cy="4417175"/>
          </a:xfrm>
          <a:custGeom>
            <a:avLst/>
            <a:gdLst/>
            <a:ahLst/>
            <a:cxnLst/>
            <a:rect l="l" t="t" r="r" b="b"/>
            <a:pathLst>
              <a:path w="13716" h="5889566">
                <a:moveTo>
                  <a:pt x="13716" y="5889566"/>
                </a:moveTo>
                <a:lnTo>
                  <a:pt x="13716" y="0"/>
                </a:lnTo>
                <a:lnTo>
                  <a:pt x="0" y="13716"/>
                </a:lnTo>
                <a:lnTo>
                  <a:pt x="0" y="587585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60" name="Rectangle 323"/>
          <p:cNvSpPr/>
          <p:nvPr/>
        </p:nvSpPr>
        <p:spPr>
          <a:xfrm rot="18900000" flipV="1">
            <a:off x="1236732" y="425708"/>
            <a:ext cx="10287" cy="3522839"/>
          </a:xfrm>
          <a:custGeom>
            <a:avLst/>
            <a:gdLst/>
            <a:ahLst/>
            <a:cxnLst/>
            <a:rect l="l" t="t" r="r" b="b"/>
            <a:pathLst>
              <a:path w="13716" h="4697119">
                <a:moveTo>
                  <a:pt x="13716" y="4697119"/>
                </a:moveTo>
                <a:lnTo>
                  <a:pt x="13716" y="0"/>
                </a:lnTo>
                <a:lnTo>
                  <a:pt x="0" y="13716"/>
                </a:lnTo>
                <a:lnTo>
                  <a:pt x="0" y="4683403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61" name="Rectangle 324"/>
          <p:cNvSpPr/>
          <p:nvPr/>
        </p:nvSpPr>
        <p:spPr>
          <a:xfrm rot="18900000" flipV="1">
            <a:off x="920537" y="1189068"/>
            <a:ext cx="10287" cy="2628506"/>
          </a:xfrm>
          <a:custGeom>
            <a:avLst/>
            <a:gdLst/>
            <a:ahLst/>
            <a:cxnLst/>
            <a:rect l="l" t="t" r="r" b="b"/>
            <a:pathLst>
              <a:path w="13716" h="3504674">
                <a:moveTo>
                  <a:pt x="13716" y="3504674"/>
                </a:moveTo>
                <a:lnTo>
                  <a:pt x="13716" y="0"/>
                </a:lnTo>
                <a:lnTo>
                  <a:pt x="0" y="13716"/>
                </a:lnTo>
                <a:lnTo>
                  <a:pt x="0" y="3490958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62" name="Rectangle 325"/>
          <p:cNvSpPr/>
          <p:nvPr/>
        </p:nvSpPr>
        <p:spPr>
          <a:xfrm rot="18900000" flipV="1">
            <a:off x="604343" y="1952431"/>
            <a:ext cx="10287" cy="1734170"/>
          </a:xfrm>
          <a:custGeom>
            <a:avLst/>
            <a:gdLst/>
            <a:ahLst/>
            <a:cxnLst/>
            <a:rect l="l" t="t" r="r" b="b"/>
            <a:pathLst>
              <a:path w="13716" h="2312226">
                <a:moveTo>
                  <a:pt x="13716" y="2312226"/>
                </a:moveTo>
                <a:lnTo>
                  <a:pt x="13716" y="0"/>
                </a:lnTo>
                <a:lnTo>
                  <a:pt x="0" y="13716"/>
                </a:lnTo>
                <a:lnTo>
                  <a:pt x="0" y="229851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63" name="Rectangle 326"/>
          <p:cNvSpPr/>
          <p:nvPr/>
        </p:nvSpPr>
        <p:spPr>
          <a:xfrm rot="18900000" flipV="1">
            <a:off x="288149" y="2715793"/>
            <a:ext cx="10287" cy="839837"/>
          </a:xfrm>
          <a:custGeom>
            <a:avLst/>
            <a:gdLst/>
            <a:ahLst/>
            <a:cxnLst/>
            <a:rect l="l" t="t" r="r" b="b"/>
            <a:pathLst>
              <a:path w="13716" h="1119782">
                <a:moveTo>
                  <a:pt x="13716" y="1119782"/>
                </a:moveTo>
                <a:lnTo>
                  <a:pt x="13716" y="0"/>
                </a:lnTo>
                <a:lnTo>
                  <a:pt x="0" y="13716"/>
                </a:lnTo>
                <a:lnTo>
                  <a:pt x="0" y="110606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64" name="Rectangle 371"/>
          <p:cNvSpPr/>
          <p:nvPr/>
        </p:nvSpPr>
        <p:spPr>
          <a:xfrm rot="18900000" flipV="1">
            <a:off x="2028885" y="-715312"/>
            <a:ext cx="10287" cy="4859625"/>
          </a:xfrm>
          <a:custGeom>
            <a:avLst/>
            <a:gdLst/>
            <a:ahLst/>
            <a:cxnLst/>
            <a:rect l="l" t="t" r="r" b="b"/>
            <a:pathLst>
              <a:path w="13716" h="6479500">
                <a:moveTo>
                  <a:pt x="0" y="6479500"/>
                </a:moveTo>
                <a:lnTo>
                  <a:pt x="13716" y="6465784"/>
                </a:lnTo>
                <a:lnTo>
                  <a:pt x="13716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65" name="Rectangle 373"/>
          <p:cNvSpPr/>
          <p:nvPr/>
        </p:nvSpPr>
        <p:spPr>
          <a:xfrm rot="18900000" flipV="1">
            <a:off x="3293664" y="-715312"/>
            <a:ext cx="10287" cy="4859625"/>
          </a:xfrm>
          <a:custGeom>
            <a:avLst/>
            <a:gdLst/>
            <a:ahLst/>
            <a:cxnLst/>
            <a:rect l="l" t="t" r="r" b="b"/>
            <a:pathLst>
              <a:path w="13716" h="6479500">
                <a:moveTo>
                  <a:pt x="0" y="6479500"/>
                </a:moveTo>
                <a:lnTo>
                  <a:pt x="13716" y="6465784"/>
                </a:lnTo>
                <a:lnTo>
                  <a:pt x="13716" y="0"/>
                </a:lnTo>
                <a:lnTo>
                  <a:pt x="0" y="13715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66" name="Rectangle 375"/>
          <p:cNvSpPr/>
          <p:nvPr/>
        </p:nvSpPr>
        <p:spPr>
          <a:xfrm rot="18900000" flipV="1">
            <a:off x="4558444" y="-715312"/>
            <a:ext cx="10287" cy="4859626"/>
          </a:xfrm>
          <a:custGeom>
            <a:avLst/>
            <a:gdLst/>
            <a:ahLst/>
            <a:cxnLst/>
            <a:rect l="l" t="t" r="r" b="b"/>
            <a:pathLst>
              <a:path w="13716" h="6479501">
                <a:moveTo>
                  <a:pt x="0" y="6479501"/>
                </a:moveTo>
                <a:lnTo>
                  <a:pt x="13716" y="6465785"/>
                </a:lnTo>
                <a:lnTo>
                  <a:pt x="13716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67" name="Rectangle 376"/>
          <p:cNvSpPr/>
          <p:nvPr/>
        </p:nvSpPr>
        <p:spPr>
          <a:xfrm rot="18900000" flipV="1">
            <a:off x="5187196" y="-724093"/>
            <a:ext cx="10287" cy="4869914"/>
          </a:xfrm>
          <a:custGeom>
            <a:avLst/>
            <a:gdLst/>
            <a:ahLst/>
            <a:cxnLst/>
            <a:rect l="l" t="t" r="r" b="b"/>
            <a:pathLst>
              <a:path w="13716" h="6493219">
                <a:moveTo>
                  <a:pt x="13716" y="6479504"/>
                </a:moveTo>
                <a:lnTo>
                  <a:pt x="13716" y="0"/>
                </a:lnTo>
                <a:lnTo>
                  <a:pt x="0" y="13717"/>
                </a:lnTo>
                <a:lnTo>
                  <a:pt x="0" y="6493219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68" name="Rectangle 377"/>
          <p:cNvSpPr/>
          <p:nvPr/>
        </p:nvSpPr>
        <p:spPr>
          <a:xfrm rot="18900000" flipV="1">
            <a:off x="5819586" y="-724093"/>
            <a:ext cx="10288" cy="4869914"/>
          </a:xfrm>
          <a:custGeom>
            <a:avLst/>
            <a:gdLst/>
            <a:ahLst/>
            <a:cxnLst/>
            <a:rect l="l" t="t" r="r" b="b"/>
            <a:pathLst>
              <a:path w="13717" h="6493219">
                <a:moveTo>
                  <a:pt x="0" y="6493219"/>
                </a:moveTo>
                <a:lnTo>
                  <a:pt x="13716" y="6479502"/>
                </a:lnTo>
                <a:lnTo>
                  <a:pt x="13717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69" name="Rectangle 378"/>
          <p:cNvSpPr/>
          <p:nvPr/>
        </p:nvSpPr>
        <p:spPr>
          <a:xfrm rot="18900000" flipV="1">
            <a:off x="6451975" y="-724093"/>
            <a:ext cx="10287" cy="4869914"/>
          </a:xfrm>
          <a:custGeom>
            <a:avLst/>
            <a:gdLst/>
            <a:ahLst/>
            <a:cxnLst/>
            <a:rect l="l" t="t" r="r" b="b"/>
            <a:pathLst>
              <a:path w="13716" h="6493219">
                <a:moveTo>
                  <a:pt x="13716" y="6479504"/>
                </a:moveTo>
                <a:lnTo>
                  <a:pt x="13716" y="0"/>
                </a:lnTo>
                <a:lnTo>
                  <a:pt x="0" y="13716"/>
                </a:lnTo>
                <a:lnTo>
                  <a:pt x="0" y="6493219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70" name="Rectangle 138"/>
          <p:cNvSpPr/>
          <p:nvPr/>
        </p:nvSpPr>
        <p:spPr>
          <a:xfrm rot="18900000" flipV="1">
            <a:off x="7566726" y="-661951"/>
            <a:ext cx="10287" cy="4445573"/>
          </a:xfrm>
          <a:custGeom>
            <a:avLst/>
            <a:gdLst/>
            <a:ahLst/>
            <a:cxnLst/>
            <a:rect l="l" t="t" r="r" b="b"/>
            <a:pathLst>
              <a:path w="13716" h="5927431">
                <a:moveTo>
                  <a:pt x="0" y="5927431"/>
                </a:moveTo>
                <a:lnTo>
                  <a:pt x="13715" y="5913716"/>
                </a:lnTo>
                <a:lnTo>
                  <a:pt x="13716" y="137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71" name="Rectangle 139"/>
          <p:cNvSpPr/>
          <p:nvPr/>
        </p:nvSpPr>
        <p:spPr>
          <a:xfrm rot="18900000" flipV="1">
            <a:off x="7882922" y="-530978"/>
            <a:ext cx="10287" cy="3551239"/>
          </a:xfrm>
          <a:custGeom>
            <a:avLst/>
            <a:gdLst/>
            <a:ahLst/>
            <a:cxnLst/>
            <a:rect l="l" t="t" r="r" b="b"/>
            <a:pathLst>
              <a:path w="13716" h="4734985">
                <a:moveTo>
                  <a:pt x="0" y="4734985"/>
                </a:moveTo>
                <a:lnTo>
                  <a:pt x="13715" y="4721270"/>
                </a:lnTo>
                <a:lnTo>
                  <a:pt x="13716" y="137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72" name="Rectangle 140"/>
          <p:cNvSpPr/>
          <p:nvPr/>
        </p:nvSpPr>
        <p:spPr>
          <a:xfrm rot="18900000" flipV="1">
            <a:off x="8199116" y="-400007"/>
            <a:ext cx="10287" cy="2656905"/>
          </a:xfrm>
          <a:custGeom>
            <a:avLst/>
            <a:gdLst/>
            <a:ahLst/>
            <a:cxnLst/>
            <a:rect l="l" t="t" r="r" b="b"/>
            <a:pathLst>
              <a:path w="13716" h="3542540">
                <a:moveTo>
                  <a:pt x="0" y="3542540"/>
                </a:moveTo>
                <a:lnTo>
                  <a:pt x="13715" y="3528825"/>
                </a:lnTo>
                <a:lnTo>
                  <a:pt x="13716" y="137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73" name="Rectangle 141"/>
          <p:cNvSpPr/>
          <p:nvPr/>
        </p:nvSpPr>
        <p:spPr>
          <a:xfrm rot="18900000" flipV="1">
            <a:off x="8515311" y="-269034"/>
            <a:ext cx="10287" cy="1762571"/>
          </a:xfrm>
          <a:custGeom>
            <a:avLst/>
            <a:gdLst/>
            <a:ahLst/>
            <a:cxnLst/>
            <a:rect l="l" t="t" r="r" b="b"/>
            <a:pathLst>
              <a:path w="13716" h="2350095">
                <a:moveTo>
                  <a:pt x="0" y="2350095"/>
                </a:moveTo>
                <a:lnTo>
                  <a:pt x="13715" y="2336380"/>
                </a:lnTo>
                <a:lnTo>
                  <a:pt x="13716" y="1371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74" name="Rectangle 142"/>
          <p:cNvSpPr/>
          <p:nvPr/>
        </p:nvSpPr>
        <p:spPr>
          <a:xfrm rot="18900000" flipV="1">
            <a:off x="8831506" y="-138063"/>
            <a:ext cx="10287" cy="868238"/>
          </a:xfrm>
          <a:custGeom>
            <a:avLst/>
            <a:gdLst/>
            <a:ahLst/>
            <a:cxnLst/>
            <a:rect l="l" t="t" r="r" b="b"/>
            <a:pathLst>
              <a:path w="13716" h="1157650">
                <a:moveTo>
                  <a:pt x="0" y="1157650"/>
                </a:moveTo>
                <a:lnTo>
                  <a:pt x="13716" y="1143934"/>
                </a:lnTo>
                <a:lnTo>
                  <a:pt x="13716" y="137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75" name="Rectangle 372"/>
          <p:cNvSpPr/>
          <p:nvPr/>
        </p:nvSpPr>
        <p:spPr>
          <a:xfrm rot="18900000" flipV="1">
            <a:off x="2657638" y="-724093"/>
            <a:ext cx="10287" cy="4869914"/>
          </a:xfrm>
          <a:custGeom>
            <a:avLst/>
            <a:gdLst/>
            <a:ahLst/>
            <a:cxnLst/>
            <a:rect l="l" t="t" r="r" b="b"/>
            <a:pathLst>
              <a:path w="13716" h="6493219">
                <a:moveTo>
                  <a:pt x="0" y="6493219"/>
                </a:moveTo>
                <a:lnTo>
                  <a:pt x="13716" y="6479503"/>
                </a:lnTo>
                <a:lnTo>
                  <a:pt x="13716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76" name="Rectangle 374"/>
          <p:cNvSpPr/>
          <p:nvPr/>
        </p:nvSpPr>
        <p:spPr>
          <a:xfrm rot="18900000" flipV="1">
            <a:off x="3922417" y="-724094"/>
            <a:ext cx="10287" cy="4869915"/>
          </a:xfrm>
          <a:custGeom>
            <a:avLst/>
            <a:gdLst/>
            <a:ahLst/>
            <a:cxnLst/>
            <a:rect l="l" t="t" r="r" b="b"/>
            <a:pathLst>
              <a:path w="13716" h="6493220">
                <a:moveTo>
                  <a:pt x="0" y="6493220"/>
                </a:moveTo>
                <a:lnTo>
                  <a:pt x="13716" y="6479504"/>
                </a:lnTo>
                <a:lnTo>
                  <a:pt x="13716" y="0"/>
                </a:lnTo>
                <a:lnTo>
                  <a:pt x="0" y="1371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77" name="Teardrop 3"/>
          <p:cNvSpPr/>
          <p:nvPr/>
        </p:nvSpPr>
        <p:spPr>
          <a:xfrm rot="5400000" flipH="1" flipV="1">
            <a:off x="483207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78" name="Teardrop 3"/>
          <p:cNvSpPr/>
          <p:nvPr/>
        </p:nvSpPr>
        <p:spPr>
          <a:xfrm rot="5400000" flipH="1" flipV="1">
            <a:off x="-111581" y="193736"/>
            <a:ext cx="459486" cy="236325"/>
          </a:xfrm>
          <a:custGeom>
            <a:avLst/>
            <a:gdLst/>
            <a:ahLst/>
            <a:cxnLst/>
            <a:rect l="l" t="t" r="r" b="b"/>
            <a:pathLst>
              <a:path w="612648" h="315100">
                <a:moveTo>
                  <a:pt x="239386" y="75670"/>
                </a:moveTo>
                <a:cubicBezTo>
                  <a:pt x="230866" y="67149"/>
                  <a:pt x="224313" y="57406"/>
                  <a:pt x="219944" y="46909"/>
                </a:cubicBezTo>
                <a:cubicBezTo>
                  <a:pt x="207099" y="60107"/>
                  <a:pt x="182914" y="65356"/>
                  <a:pt x="163810" y="64989"/>
                </a:cubicBezTo>
                <a:cubicBezTo>
                  <a:pt x="113791" y="64989"/>
                  <a:pt x="73243" y="105538"/>
                  <a:pt x="73243" y="155556"/>
                </a:cubicBezTo>
                <a:cubicBezTo>
                  <a:pt x="73243" y="179467"/>
                  <a:pt x="82509" y="201213"/>
                  <a:pt x="97830" y="217225"/>
                </a:cubicBezTo>
                <a:close/>
                <a:moveTo>
                  <a:pt x="268191" y="95157"/>
                </a:moveTo>
                <a:cubicBezTo>
                  <a:pt x="257695" y="90787"/>
                  <a:pt x="247952" y="84234"/>
                  <a:pt x="239431" y="75715"/>
                </a:cubicBezTo>
                <a:lnTo>
                  <a:pt x="97875" y="217270"/>
                </a:lnTo>
                <a:cubicBezTo>
                  <a:pt x="113887" y="232591"/>
                  <a:pt x="135634" y="241857"/>
                  <a:pt x="159544" y="241857"/>
                </a:cubicBezTo>
                <a:cubicBezTo>
                  <a:pt x="184553" y="241857"/>
                  <a:pt x="207195" y="231720"/>
                  <a:pt x="223585" y="215331"/>
                </a:cubicBezTo>
                <a:cubicBezTo>
                  <a:pt x="239974" y="198941"/>
                  <a:pt x="250111" y="176299"/>
                  <a:pt x="250111" y="151290"/>
                </a:cubicBezTo>
                <a:cubicBezTo>
                  <a:pt x="249745" y="132187"/>
                  <a:pt x="254994" y="108002"/>
                  <a:pt x="268191" y="95157"/>
                </a:cubicBezTo>
                <a:close/>
                <a:moveTo>
                  <a:pt x="391275" y="232488"/>
                </a:moveTo>
                <a:cubicBezTo>
                  <a:pt x="366688" y="214199"/>
                  <a:pt x="350981" y="184860"/>
                  <a:pt x="350981" y="151853"/>
                </a:cubicBezTo>
                <a:cubicBezTo>
                  <a:pt x="351479" y="125869"/>
                  <a:pt x="347689" y="109892"/>
                  <a:pt x="331337" y="99934"/>
                </a:cubicBezTo>
                <a:cubicBezTo>
                  <a:pt x="315088" y="104415"/>
                  <a:pt x="297874" y="104335"/>
                  <a:pt x="281637" y="99721"/>
                </a:cubicBezTo>
                <a:cubicBezTo>
                  <a:pt x="265010" y="109675"/>
                  <a:pt x="261165" y="125694"/>
                  <a:pt x="261667" y="151853"/>
                </a:cubicBezTo>
                <a:cubicBezTo>
                  <a:pt x="261667" y="179968"/>
                  <a:pt x="250271" y="205421"/>
                  <a:pt x="231846" y="223846"/>
                </a:cubicBezTo>
                <a:lnTo>
                  <a:pt x="221347" y="232509"/>
                </a:lnTo>
                <a:cubicBezTo>
                  <a:pt x="224389" y="249009"/>
                  <a:pt x="232545" y="264623"/>
                  <a:pt x="245300" y="277378"/>
                </a:cubicBezTo>
                <a:cubicBezTo>
                  <a:pt x="262207" y="294285"/>
                  <a:pt x="284136" y="303111"/>
                  <a:pt x="306292" y="303599"/>
                </a:cubicBezTo>
                <a:lnTo>
                  <a:pt x="306292" y="218433"/>
                </a:lnTo>
                <a:lnTo>
                  <a:pt x="306356" y="218433"/>
                </a:lnTo>
                <a:lnTo>
                  <a:pt x="306356" y="303599"/>
                </a:lnTo>
                <a:cubicBezTo>
                  <a:pt x="328512" y="303110"/>
                  <a:pt x="350441" y="294285"/>
                  <a:pt x="367348" y="277378"/>
                </a:cubicBezTo>
                <a:cubicBezTo>
                  <a:pt x="380109" y="264617"/>
                  <a:pt x="388266" y="248996"/>
                  <a:pt x="391275" y="232488"/>
                </a:cubicBezTo>
                <a:close/>
                <a:moveTo>
                  <a:pt x="514773" y="217271"/>
                </a:moveTo>
                <a:lnTo>
                  <a:pt x="373218" y="75716"/>
                </a:lnTo>
                <a:cubicBezTo>
                  <a:pt x="364700" y="84231"/>
                  <a:pt x="354962" y="90781"/>
                  <a:pt x="344508" y="95209"/>
                </a:cubicBezTo>
                <a:cubicBezTo>
                  <a:pt x="357668" y="108066"/>
                  <a:pt x="362903" y="132212"/>
                  <a:pt x="362537" y="151290"/>
                </a:cubicBezTo>
                <a:cubicBezTo>
                  <a:pt x="362537" y="201309"/>
                  <a:pt x="403085" y="241857"/>
                  <a:pt x="453104" y="241857"/>
                </a:cubicBezTo>
                <a:cubicBezTo>
                  <a:pt x="477015" y="241857"/>
                  <a:pt x="498761" y="232592"/>
                  <a:pt x="514773" y="217271"/>
                </a:cubicBezTo>
                <a:close/>
                <a:moveTo>
                  <a:pt x="539405" y="155556"/>
                </a:moveTo>
                <a:cubicBezTo>
                  <a:pt x="539405" y="105538"/>
                  <a:pt x="498856" y="64989"/>
                  <a:pt x="448838" y="64989"/>
                </a:cubicBezTo>
                <a:cubicBezTo>
                  <a:pt x="429760" y="65355"/>
                  <a:pt x="405614" y="60121"/>
                  <a:pt x="392756" y="46961"/>
                </a:cubicBezTo>
                <a:cubicBezTo>
                  <a:pt x="388329" y="57415"/>
                  <a:pt x="381778" y="67153"/>
                  <a:pt x="373263" y="75671"/>
                </a:cubicBezTo>
                <a:lnTo>
                  <a:pt x="514818" y="217225"/>
                </a:lnTo>
                <a:cubicBezTo>
                  <a:pt x="530139" y="201213"/>
                  <a:pt x="539405" y="179467"/>
                  <a:pt x="539405" y="155556"/>
                </a:cubicBezTo>
                <a:close/>
                <a:moveTo>
                  <a:pt x="612648" y="8776"/>
                </a:moveTo>
                <a:cubicBezTo>
                  <a:pt x="612257" y="34030"/>
                  <a:pt x="602326" y="59101"/>
                  <a:pt x="583058" y="78369"/>
                </a:cubicBezTo>
                <a:cubicBezTo>
                  <a:pt x="569890" y="91537"/>
                  <a:pt x="554014" y="100343"/>
                  <a:pt x="537134" y="104416"/>
                </a:cubicBezTo>
                <a:cubicBezTo>
                  <a:pt x="546224" y="119205"/>
                  <a:pt x="551214" y="136643"/>
                  <a:pt x="551214" y="155247"/>
                </a:cubicBezTo>
                <a:cubicBezTo>
                  <a:pt x="551214" y="182497"/>
                  <a:pt x="540509" y="207247"/>
                  <a:pt x="522928" y="225380"/>
                </a:cubicBezTo>
                <a:lnTo>
                  <a:pt x="522928" y="225380"/>
                </a:lnTo>
                <a:cubicBezTo>
                  <a:pt x="504794" y="242961"/>
                  <a:pt x="480044" y="253667"/>
                  <a:pt x="452794" y="253667"/>
                </a:cubicBezTo>
                <a:cubicBezTo>
                  <a:pt x="434191" y="253667"/>
                  <a:pt x="416753" y="248677"/>
                  <a:pt x="401964" y="239586"/>
                </a:cubicBezTo>
                <a:cubicBezTo>
                  <a:pt x="397891" y="256466"/>
                  <a:pt x="389084" y="272342"/>
                  <a:pt x="375917" y="285509"/>
                </a:cubicBezTo>
                <a:cubicBezTo>
                  <a:pt x="356649" y="304778"/>
                  <a:pt x="331578" y="314709"/>
                  <a:pt x="306324" y="315100"/>
                </a:cubicBezTo>
                <a:lnTo>
                  <a:pt x="306324" y="315100"/>
                </a:lnTo>
                <a:cubicBezTo>
                  <a:pt x="281070" y="314709"/>
                  <a:pt x="255999" y="304778"/>
                  <a:pt x="236731" y="285509"/>
                </a:cubicBezTo>
                <a:cubicBezTo>
                  <a:pt x="223570" y="272349"/>
                  <a:pt x="214766" y="256482"/>
                  <a:pt x="210610" y="239626"/>
                </a:cubicBezTo>
                <a:cubicBezTo>
                  <a:pt x="195839" y="248693"/>
                  <a:pt x="178427" y="253666"/>
                  <a:pt x="159854" y="253666"/>
                </a:cubicBezTo>
                <a:cubicBezTo>
                  <a:pt x="132604" y="253666"/>
                  <a:pt x="107854" y="242961"/>
                  <a:pt x="89720" y="225380"/>
                </a:cubicBezTo>
                <a:lnTo>
                  <a:pt x="89720" y="225380"/>
                </a:lnTo>
                <a:cubicBezTo>
                  <a:pt x="72139" y="207247"/>
                  <a:pt x="61434" y="182497"/>
                  <a:pt x="61434" y="155247"/>
                </a:cubicBezTo>
                <a:cubicBezTo>
                  <a:pt x="61434" y="136673"/>
                  <a:pt x="66407" y="119262"/>
                  <a:pt x="75474" y="104490"/>
                </a:cubicBezTo>
                <a:cubicBezTo>
                  <a:pt x="58618" y="100334"/>
                  <a:pt x="42751" y="91530"/>
                  <a:pt x="29591" y="78369"/>
                </a:cubicBezTo>
                <a:cubicBezTo>
                  <a:pt x="10322" y="59101"/>
                  <a:pt x="391" y="34030"/>
                  <a:pt x="0" y="8776"/>
                </a:cubicBezTo>
                <a:lnTo>
                  <a:pt x="0" y="8776"/>
                </a:lnTo>
                <a:lnTo>
                  <a:pt x="1828" y="0"/>
                </a:lnTo>
                <a:lnTo>
                  <a:pt x="13374" y="0"/>
                </a:lnTo>
                <a:cubicBezTo>
                  <a:pt x="11782" y="2802"/>
                  <a:pt x="11567" y="5771"/>
                  <a:pt x="11501" y="8744"/>
                </a:cubicBezTo>
                <a:lnTo>
                  <a:pt x="96667" y="8744"/>
                </a:lnTo>
                <a:lnTo>
                  <a:pt x="96667" y="8808"/>
                </a:lnTo>
                <a:lnTo>
                  <a:pt x="11501" y="8808"/>
                </a:lnTo>
                <a:cubicBezTo>
                  <a:pt x="11989" y="30964"/>
                  <a:pt x="20815" y="52893"/>
                  <a:pt x="37722" y="69800"/>
                </a:cubicBezTo>
                <a:cubicBezTo>
                  <a:pt x="50477" y="82555"/>
                  <a:pt x="66091" y="90711"/>
                  <a:pt x="82591" y="93753"/>
                </a:cubicBezTo>
                <a:cubicBezTo>
                  <a:pt x="100880" y="69151"/>
                  <a:pt x="130228" y="53433"/>
                  <a:pt x="163247" y="53433"/>
                </a:cubicBezTo>
                <a:cubicBezTo>
                  <a:pt x="186137" y="53872"/>
                  <a:pt x="201262" y="50984"/>
                  <a:pt x="211354" y="39116"/>
                </a:cubicBezTo>
                <a:cubicBezTo>
                  <a:pt x="212796" y="37420"/>
                  <a:pt x="214135" y="35542"/>
                  <a:pt x="215380" y="33463"/>
                </a:cubicBezTo>
                <a:lnTo>
                  <a:pt x="215236" y="0"/>
                </a:lnTo>
                <a:lnTo>
                  <a:pt x="223506" y="0"/>
                </a:lnTo>
                <a:cubicBezTo>
                  <a:pt x="219687" y="24354"/>
                  <a:pt x="227777" y="49750"/>
                  <a:pt x="246535" y="68520"/>
                </a:cubicBezTo>
                <a:lnTo>
                  <a:pt x="254763" y="60293"/>
                </a:lnTo>
                <a:cubicBezTo>
                  <a:pt x="254771" y="60299"/>
                  <a:pt x="254778" y="60307"/>
                  <a:pt x="254786" y="60315"/>
                </a:cubicBezTo>
                <a:lnTo>
                  <a:pt x="254808" y="60338"/>
                </a:lnTo>
                <a:lnTo>
                  <a:pt x="246580" y="68565"/>
                </a:lnTo>
                <a:cubicBezTo>
                  <a:pt x="279582" y="101547"/>
                  <a:pt x="333066" y="101547"/>
                  <a:pt x="366068" y="68565"/>
                </a:cubicBezTo>
                <a:lnTo>
                  <a:pt x="357840" y="60338"/>
                </a:lnTo>
                <a:cubicBezTo>
                  <a:pt x="357847" y="60330"/>
                  <a:pt x="357855" y="60322"/>
                  <a:pt x="357862" y="60315"/>
                </a:cubicBezTo>
                <a:lnTo>
                  <a:pt x="357885" y="60293"/>
                </a:lnTo>
                <a:lnTo>
                  <a:pt x="366113" y="68520"/>
                </a:lnTo>
                <a:cubicBezTo>
                  <a:pt x="384871" y="49750"/>
                  <a:pt x="392961" y="24354"/>
                  <a:pt x="389142" y="0"/>
                </a:cubicBezTo>
                <a:lnTo>
                  <a:pt x="397337" y="0"/>
                </a:lnTo>
                <a:cubicBezTo>
                  <a:pt x="401478" y="11094"/>
                  <a:pt x="400548" y="22668"/>
                  <a:pt x="397481" y="33790"/>
                </a:cubicBezTo>
                <a:cubicBezTo>
                  <a:pt x="407439" y="50142"/>
                  <a:pt x="423417" y="53932"/>
                  <a:pt x="449401" y="53433"/>
                </a:cubicBezTo>
                <a:cubicBezTo>
                  <a:pt x="482407" y="53434"/>
                  <a:pt x="511746" y="69140"/>
                  <a:pt x="530035" y="93727"/>
                </a:cubicBezTo>
                <a:cubicBezTo>
                  <a:pt x="546543" y="90718"/>
                  <a:pt x="562165" y="82561"/>
                  <a:pt x="574926" y="69800"/>
                </a:cubicBezTo>
                <a:cubicBezTo>
                  <a:pt x="591833" y="52893"/>
                  <a:pt x="600658" y="30964"/>
                  <a:pt x="601147" y="8808"/>
                </a:cubicBezTo>
                <a:lnTo>
                  <a:pt x="515981" y="8808"/>
                </a:lnTo>
                <a:lnTo>
                  <a:pt x="515981" y="8744"/>
                </a:lnTo>
                <a:lnTo>
                  <a:pt x="601147" y="8744"/>
                </a:lnTo>
                <a:lnTo>
                  <a:pt x="599274" y="0"/>
                </a:lnTo>
                <a:lnTo>
                  <a:pt x="610820" y="0"/>
                </a:lnTo>
                <a:cubicBezTo>
                  <a:pt x="612423" y="2826"/>
                  <a:pt x="612602" y="5800"/>
                  <a:pt x="612648" y="877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79" name="Teardrop 3"/>
          <p:cNvSpPr/>
          <p:nvPr/>
        </p:nvSpPr>
        <p:spPr>
          <a:xfrm rot="5400000" flipH="1" flipV="1">
            <a:off x="104064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80" name="Teardrop 3"/>
          <p:cNvSpPr/>
          <p:nvPr/>
        </p:nvSpPr>
        <p:spPr>
          <a:xfrm rot="5400000" flipH="1" flipV="1">
            <a:off x="167255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81" name="Teardrop 3"/>
          <p:cNvSpPr/>
          <p:nvPr/>
        </p:nvSpPr>
        <p:spPr>
          <a:xfrm rot="5400000" flipH="1" flipV="1">
            <a:off x="230445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82" name="Teardrop 3"/>
          <p:cNvSpPr/>
          <p:nvPr/>
        </p:nvSpPr>
        <p:spPr>
          <a:xfrm rot="5400000" flipH="1" flipV="1">
            <a:off x="293636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83" name="Teardrop 3"/>
          <p:cNvSpPr/>
          <p:nvPr/>
        </p:nvSpPr>
        <p:spPr>
          <a:xfrm rot="5400000" flipH="1" flipV="1">
            <a:off x="356826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84" name="Teardrop 3"/>
          <p:cNvSpPr/>
          <p:nvPr/>
        </p:nvSpPr>
        <p:spPr>
          <a:xfrm rot="5400000" flipH="1" flipV="1">
            <a:off x="420017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85" name="Teardrop 3"/>
          <p:cNvSpPr/>
          <p:nvPr/>
        </p:nvSpPr>
        <p:spPr>
          <a:xfrm rot="5400000" flipH="1" flipV="1">
            <a:off x="609588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86" name="Teardrop 3"/>
          <p:cNvSpPr/>
          <p:nvPr/>
        </p:nvSpPr>
        <p:spPr>
          <a:xfrm rot="5400000" flipH="1" flipV="1">
            <a:off x="546398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87" name="Teardrop 3"/>
          <p:cNvSpPr/>
          <p:nvPr/>
        </p:nvSpPr>
        <p:spPr>
          <a:xfrm rot="5400000" flipH="1" flipV="1">
            <a:off x="7359699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88" name="Teardrop 3"/>
          <p:cNvSpPr/>
          <p:nvPr/>
        </p:nvSpPr>
        <p:spPr>
          <a:xfrm rot="5400000" flipH="1" flipV="1">
            <a:off x="672779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89" name="Teardrop 3"/>
          <p:cNvSpPr/>
          <p:nvPr/>
        </p:nvSpPr>
        <p:spPr>
          <a:xfrm rot="5400000" flipH="1" flipV="1">
            <a:off x="8623508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90" name="Teardrop 3"/>
          <p:cNvSpPr/>
          <p:nvPr/>
        </p:nvSpPr>
        <p:spPr>
          <a:xfrm rot="5400000" flipH="1" flipV="1">
            <a:off x="799160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91" name="Teardrop 3"/>
          <p:cNvSpPr/>
          <p:nvPr/>
        </p:nvSpPr>
        <p:spPr>
          <a:xfrm rot="5400000" flipH="1" flipV="1">
            <a:off x="408744" y="8215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92" name="Oval 591"/>
          <p:cNvSpPr/>
          <p:nvPr/>
        </p:nvSpPr>
        <p:spPr>
          <a:xfrm>
            <a:off x="499838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93" name="Oval 167"/>
          <p:cNvSpPr/>
          <p:nvPr/>
        </p:nvSpPr>
        <p:spPr>
          <a:xfrm>
            <a:off x="0" y="248774"/>
            <a:ext cx="70457" cy="3180227"/>
          </a:xfrm>
          <a:custGeom>
            <a:avLst/>
            <a:gdLst/>
            <a:ahLst/>
            <a:cxnLst/>
            <a:rect l="l" t="t" r="r" b="b"/>
            <a:pathLst>
              <a:path w="93942" h="4240302">
                <a:moveTo>
                  <a:pt x="9066" y="4229620"/>
                </a:moveTo>
                <a:cubicBezTo>
                  <a:pt x="23324" y="4229620"/>
                  <a:pt x="36761" y="4233136"/>
                  <a:pt x="48054" y="4240302"/>
                </a:cubicBezTo>
                <a:lnTo>
                  <a:pt x="0" y="4240302"/>
                </a:lnTo>
                <a:lnTo>
                  <a:pt x="0" y="4231451"/>
                </a:lnTo>
                <a:cubicBezTo>
                  <a:pt x="2881" y="4229788"/>
                  <a:pt x="5954" y="4229620"/>
                  <a:pt x="9066" y="4229620"/>
                </a:cubicBezTo>
                <a:close/>
                <a:moveTo>
                  <a:pt x="9066" y="3380947"/>
                </a:moveTo>
                <a:cubicBezTo>
                  <a:pt x="55942" y="3380947"/>
                  <a:pt x="93942" y="3418947"/>
                  <a:pt x="93942" y="3465822"/>
                </a:cubicBezTo>
                <a:cubicBezTo>
                  <a:pt x="93942" y="3512697"/>
                  <a:pt x="55942" y="3550697"/>
                  <a:pt x="9066" y="3550697"/>
                </a:cubicBezTo>
                <a:lnTo>
                  <a:pt x="0" y="3548867"/>
                </a:lnTo>
                <a:lnTo>
                  <a:pt x="0" y="3382777"/>
                </a:lnTo>
                <a:cubicBezTo>
                  <a:pt x="2881" y="3381115"/>
                  <a:pt x="5954" y="3380947"/>
                  <a:pt x="9066" y="3380947"/>
                </a:cubicBezTo>
                <a:close/>
                <a:moveTo>
                  <a:pt x="9066" y="2536768"/>
                </a:moveTo>
                <a:cubicBezTo>
                  <a:pt x="55942" y="2536768"/>
                  <a:pt x="93942" y="2574768"/>
                  <a:pt x="93942" y="2621643"/>
                </a:cubicBezTo>
                <a:cubicBezTo>
                  <a:pt x="93942" y="2668518"/>
                  <a:pt x="55942" y="2706518"/>
                  <a:pt x="9066" y="2706518"/>
                </a:cubicBezTo>
                <a:lnTo>
                  <a:pt x="0" y="2704688"/>
                </a:lnTo>
                <a:lnTo>
                  <a:pt x="0" y="2538598"/>
                </a:lnTo>
                <a:cubicBezTo>
                  <a:pt x="2881" y="2536936"/>
                  <a:pt x="5954" y="2536768"/>
                  <a:pt x="9066" y="2536768"/>
                </a:cubicBezTo>
                <a:close/>
                <a:moveTo>
                  <a:pt x="9066" y="1688095"/>
                </a:moveTo>
                <a:cubicBezTo>
                  <a:pt x="55942" y="1688095"/>
                  <a:pt x="93942" y="1726095"/>
                  <a:pt x="93942" y="1772970"/>
                </a:cubicBezTo>
                <a:cubicBezTo>
                  <a:pt x="93942" y="1819845"/>
                  <a:pt x="55942" y="1857845"/>
                  <a:pt x="9066" y="1857845"/>
                </a:cubicBezTo>
                <a:lnTo>
                  <a:pt x="0" y="1856015"/>
                </a:lnTo>
                <a:lnTo>
                  <a:pt x="0" y="1689925"/>
                </a:lnTo>
                <a:cubicBezTo>
                  <a:pt x="2881" y="1688263"/>
                  <a:pt x="5954" y="1688095"/>
                  <a:pt x="9066" y="1688095"/>
                </a:cubicBezTo>
                <a:close/>
                <a:moveTo>
                  <a:pt x="9066" y="845498"/>
                </a:moveTo>
                <a:cubicBezTo>
                  <a:pt x="55942" y="845498"/>
                  <a:pt x="93942" y="883498"/>
                  <a:pt x="93942" y="930373"/>
                </a:cubicBezTo>
                <a:cubicBezTo>
                  <a:pt x="93942" y="977248"/>
                  <a:pt x="55942" y="1015248"/>
                  <a:pt x="9066" y="1015248"/>
                </a:cubicBezTo>
                <a:lnTo>
                  <a:pt x="0" y="1013418"/>
                </a:lnTo>
                <a:lnTo>
                  <a:pt x="0" y="847328"/>
                </a:lnTo>
                <a:cubicBezTo>
                  <a:pt x="2881" y="845666"/>
                  <a:pt x="5954" y="845498"/>
                  <a:pt x="9066" y="845498"/>
                </a:cubicBezTo>
                <a:close/>
                <a:moveTo>
                  <a:pt x="9066" y="0"/>
                </a:moveTo>
                <a:cubicBezTo>
                  <a:pt x="55942" y="0"/>
                  <a:pt x="93942" y="38000"/>
                  <a:pt x="93942" y="84875"/>
                </a:cubicBezTo>
                <a:cubicBezTo>
                  <a:pt x="93942" y="131750"/>
                  <a:pt x="55942" y="169750"/>
                  <a:pt x="9066" y="169750"/>
                </a:cubicBezTo>
                <a:lnTo>
                  <a:pt x="0" y="167920"/>
                </a:lnTo>
                <a:lnTo>
                  <a:pt x="0" y="1830"/>
                </a:lnTo>
                <a:cubicBezTo>
                  <a:pt x="2881" y="167"/>
                  <a:pt x="5954" y="0"/>
                  <a:pt x="90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94" name="Oval 593"/>
          <p:cNvSpPr/>
          <p:nvPr/>
        </p:nvSpPr>
        <p:spPr>
          <a:xfrm>
            <a:off x="57504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95" name="Oval 594"/>
          <p:cNvSpPr/>
          <p:nvPr/>
        </p:nvSpPr>
        <p:spPr>
          <a:xfrm>
            <a:off x="120695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96" name="Oval 595"/>
          <p:cNvSpPr/>
          <p:nvPr/>
        </p:nvSpPr>
        <p:spPr>
          <a:xfrm>
            <a:off x="183885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97" name="Oval 596"/>
          <p:cNvSpPr/>
          <p:nvPr/>
        </p:nvSpPr>
        <p:spPr>
          <a:xfrm>
            <a:off x="247076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98" name="Oval 597"/>
          <p:cNvSpPr/>
          <p:nvPr/>
        </p:nvSpPr>
        <p:spPr>
          <a:xfrm>
            <a:off x="310266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99" name="Oval 598"/>
          <p:cNvSpPr/>
          <p:nvPr/>
        </p:nvSpPr>
        <p:spPr>
          <a:xfrm>
            <a:off x="373457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00" name="Oval 599"/>
          <p:cNvSpPr/>
          <p:nvPr/>
        </p:nvSpPr>
        <p:spPr>
          <a:xfrm>
            <a:off x="436647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01" name="Oval 600"/>
          <p:cNvSpPr/>
          <p:nvPr/>
        </p:nvSpPr>
        <p:spPr>
          <a:xfrm>
            <a:off x="626219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02" name="Oval 601"/>
          <p:cNvSpPr/>
          <p:nvPr/>
        </p:nvSpPr>
        <p:spPr>
          <a:xfrm>
            <a:off x="563028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03" name="Oval 602"/>
          <p:cNvSpPr/>
          <p:nvPr/>
        </p:nvSpPr>
        <p:spPr>
          <a:xfrm>
            <a:off x="7526004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04" name="Oval 603"/>
          <p:cNvSpPr/>
          <p:nvPr/>
        </p:nvSpPr>
        <p:spPr>
          <a:xfrm>
            <a:off x="689409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05" name="Oval 604"/>
          <p:cNvSpPr/>
          <p:nvPr/>
        </p:nvSpPr>
        <p:spPr>
          <a:xfrm>
            <a:off x="8789813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06" name="Oval 605"/>
          <p:cNvSpPr/>
          <p:nvPr/>
        </p:nvSpPr>
        <p:spPr>
          <a:xfrm>
            <a:off x="8157909" y="24877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07" name="Teardrop 3"/>
          <p:cNvSpPr/>
          <p:nvPr/>
        </p:nvSpPr>
        <p:spPr>
          <a:xfrm rot="5400000" flipH="1" flipV="1">
            <a:off x="4515886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08" name="Teardrop 3"/>
          <p:cNvSpPr/>
          <p:nvPr/>
        </p:nvSpPr>
        <p:spPr>
          <a:xfrm rot="5400000" flipH="1" flipV="1">
            <a:off x="724457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09" name="Teardrop 3"/>
          <p:cNvSpPr/>
          <p:nvPr/>
        </p:nvSpPr>
        <p:spPr>
          <a:xfrm rot="5400000" flipH="1" flipV="1">
            <a:off x="135636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10" name="Teardrop 3"/>
          <p:cNvSpPr/>
          <p:nvPr/>
        </p:nvSpPr>
        <p:spPr>
          <a:xfrm rot="5400000" flipH="1" flipV="1">
            <a:off x="1988267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11" name="Teardrop 3"/>
          <p:cNvSpPr/>
          <p:nvPr/>
        </p:nvSpPr>
        <p:spPr>
          <a:xfrm rot="5400000" flipH="1" flipV="1">
            <a:off x="262017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12" name="Teardrop 3"/>
          <p:cNvSpPr/>
          <p:nvPr/>
        </p:nvSpPr>
        <p:spPr>
          <a:xfrm rot="5400000" flipH="1" flipV="1">
            <a:off x="3252077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13" name="Teardrop 3"/>
          <p:cNvSpPr/>
          <p:nvPr/>
        </p:nvSpPr>
        <p:spPr>
          <a:xfrm rot="5400000" flipH="1" flipV="1">
            <a:off x="388398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14" name="Teardrop 3"/>
          <p:cNvSpPr/>
          <p:nvPr/>
        </p:nvSpPr>
        <p:spPr>
          <a:xfrm rot="5400000" flipH="1" flipV="1">
            <a:off x="5779697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15" name="Teardrop 3"/>
          <p:cNvSpPr/>
          <p:nvPr/>
        </p:nvSpPr>
        <p:spPr>
          <a:xfrm rot="5400000" flipH="1" flipV="1">
            <a:off x="514779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16" name="Teardrop 3"/>
          <p:cNvSpPr/>
          <p:nvPr/>
        </p:nvSpPr>
        <p:spPr>
          <a:xfrm rot="5400000" flipH="1" flipV="1">
            <a:off x="7043507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17" name="Teardrop 3"/>
          <p:cNvSpPr/>
          <p:nvPr/>
        </p:nvSpPr>
        <p:spPr>
          <a:xfrm rot="5400000" flipH="1" flipV="1">
            <a:off x="641160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18" name="Teardrop 3"/>
          <p:cNvSpPr/>
          <p:nvPr/>
        </p:nvSpPr>
        <p:spPr>
          <a:xfrm rot="5400000" flipH="1" flipV="1">
            <a:off x="8307316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19" name="Teardrop 3"/>
          <p:cNvSpPr/>
          <p:nvPr/>
        </p:nvSpPr>
        <p:spPr>
          <a:xfrm rot="5400000" flipH="1" flipV="1">
            <a:off x="767541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20" name="Teardrop 3"/>
          <p:cNvSpPr/>
          <p:nvPr/>
        </p:nvSpPr>
        <p:spPr>
          <a:xfrm rot="5400000" flipH="1" flipV="1">
            <a:off x="92552" y="39767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21" name="Teardrop 3"/>
          <p:cNvSpPr/>
          <p:nvPr/>
        </p:nvSpPr>
        <p:spPr>
          <a:xfrm rot="5400000" flipH="1" flipV="1">
            <a:off x="8820002" y="514184"/>
            <a:ext cx="446835" cy="201161"/>
          </a:xfrm>
          <a:custGeom>
            <a:avLst/>
            <a:gdLst/>
            <a:ahLst/>
            <a:cxnLst/>
            <a:rect l="l" t="t" r="r" b="b"/>
            <a:pathLst>
              <a:path w="595780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7" y="250112"/>
                  <a:pt x="155376" y="250112"/>
                </a:cubicBezTo>
                <a:cubicBezTo>
                  <a:pt x="174454" y="249746"/>
                  <a:pt x="198601" y="254980"/>
                  <a:pt x="211458" y="268141"/>
                </a:cubicBezTo>
                <a:cubicBezTo>
                  <a:pt x="215885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382868" y="82592"/>
                </a:moveTo>
                <a:cubicBezTo>
                  <a:pt x="379825" y="66091"/>
                  <a:pt x="371670" y="50477"/>
                  <a:pt x="358914" y="37722"/>
                </a:cubicBezTo>
                <a:cubicBezTo>
                  <a:pt x="342007" y="20815"/>
                  <a:pt x="320078" y="11989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3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6" y="100902"/>
                  <a:pt x="253233" y="130241"/>
                  <a:pt x="253233" y="163248"/>
                </a:cubicBezTo>
                <a:cubicBezTo>
                  <a:pt x="252735" y="189232"/>
                  <a:pt x="256525" y="205210"/>
                  <a:pt x="272877" y="215167"/>
                </a:cubicBezTo>
                <a:cubicBezTo>
                  <a:pt x="289126" y="210687"/>
                  <a:pt x="306340" y="210767"/>
                  <a:pt x="322577" y="215380"/>
                </a:cubicBezTo>
                <a:cubicBezTo>
                  <a:pt x="324655" y="214136"/>
                  <a:pt x="326534" y="212797"/>
                  <a:pt x="328229" y="211355"/>
                </a:cubicBezTo>
                <a:cubicBezTo>
                  <a:pt x="340097" y="201263"/>
                  <a:pt x="342986" y="186138"/>
                  <a:pt x="342547" y="163248"/>
                </a:cubicBezTo>
                <a:cubicBezTo>
                  <a:pt x="342547" y="130228"/>
                  <a:pt x="358265" y="100880"/>
                  <a:pt x="382868" y="82592"/>
                </a:cubicBezTo>
                <a:close/>
                <a:moveTo>
                  <a:pt x="506339" y="97830"/>
                </a:moveTo>
                <a:cubicBezTo>
                  <a:pt x="490327" y="82509"/>
                  <a:pt x="468581" y="73244"/>
                  <a:pt x="444670" y="73244"/>
                </a:cubicBezTo>
                <a:cubicBezTo>
                  <a:pt x="394651" y="73244"/>
                  <a:pt x="354103" y="113792"/>
                  <a:pt x="354103" y="163811"/>
                </a:cubicBezTo>
                <a:cubicBezTo>
                  <a:pt x="354469" y="182914"/>
                  <a:pt x="349220" y="207099"/>
                  <a:pt x="336023" y="219944"/>
                </a:cubicBezTo>
                <a:cubicBezTo>
                  <a:pt x="346519" y="224314"/>
                  <a:pt x="356263" y="230867"/>
                  <a:pt x="364783" y="239386"/>
                </a:cubicBezTo>
                <a:close/>
                <a:moveTo>
                  <a:pt x="530971" y="159544"/>
                </a:moveTo>
                <a:cubicBezTo>
                  <a:pt x="530971" y="135634"/>
                  <a:pt x="521705" y="113887"/>
                  <a:pt x="506384" y="97876"/>
                </a:cubicBezTo>
                <a:lnTo>
                  <a:pt x="364828" y="239431"/>
                </a:lnTo>
                <a:cubicBezTo>
                  <a:pt x="373348" y="247952"/>
                  <a:pt x="379901" y="257695"/>
                  <a:pt x="384270" y="268192"/>
                </a:cubicBezTo>
                <a:cubicBezTo>
                  <a:pt x="397115" y="254994"/>
                  <a:pt x="421300" y="249745"/>
                  <a:pt x="440404" y="250111"/>
                </a:cubicBezTo>
                <a:cubicBezTo>
                  <a:pt x="465413" y="250112"/>
                  <a:pt x="488055" y="239974"/>
                  <a:pt x="504444" y="223585"/>
                </a:cubicBezTo>
                <a:cubicBezTo>
                  <a:pt x="520834" y="207196"/>
                  <a:pt x="530971" y="184554"/>
                  <a:pt x="530971" y="159544"/>
                </a:cubicBezTo>
                <a:close/>
                <a:moveTo>
                  <a:pt x="595780" y="268215"/>
                </a:moveTo>
                <a:lnTo>
                  <a:pt x="581969" y="268215"/>
                </a:lnTo>
                <a:cubicBezTo>
                  <a:pt x="578743" y="259654"/>
                  <a:pt x="573266" y="252074"/>
                  <a:pt x="566492" y="245300"/>
                </a:cubicBezTo>
                <a:cubicBezTo>
                  <a:pt x="553737" y="232545"/>
                  <a:pt x="538123" y="224389"/>
                  <a:pt x="521623" y="221347"/>
                </a:cubicBezTo>
                <a:cubicBezTo>
                  <a:pt x="519174" y="225205"/>
                  <a:pt x="516174" y="228633"/>
                  <a:pt x="512960" y="231847"/>
                </a:cubicBezTo>
                <a:cubicBezTo>
                  <a:pt x="494535" y="250272"/>
                  <a:pt x="469082" y="261667"/>
                  <a:pt x="440967" y="261667"/>
                </a:cubicBezTo>
                <a:cubicBezTo>
                  <a:pt x="425629" y="261373"/>
                  <a:pt x="413777" y="262574"/>
                  <a:pt x="405186" y="268215"/>
                </a:cubicBezTo>
                <a:lnTo>
                  <a:pt x="372038" y="268215"/>
                </a:lnTo>
                <a:cubicBezTo>
                  <a:pt x="369178" y="260078"/>
                  <a:pt x="364042" y="252948"/>
                  <a:pt x="357679" y="246581"/>
                </a:cubicBezTo>
                <a:lnTo>
                  <a:pt x="349451" y="254808"/>
                </a:lnTo>
                <a:lnTo>
                  <a:pt x="349428" y="254786"/>
                </a:lnTo>
                <a:cubicBezTo>
                  <a:pt x="349421" y="254779"/>
                  <a:pt x="349413" y="254771"/>
                  <a:pt x="349406" y="254763"/>
                </a:cubicBezTo>
                <a:lnTo>
                  <a:pt x="357634" y="246536"/>
                </a:lnTo>
                <a:cubicBezTo>
                  <a:pt x="324632" y="213554"/>
                  <a:pt x="271148" y="213554"/>
                  <a:pt x="238147" y="246536"/>
                </a:cubicBezTo>
                <a:lnTo>
                  <a:pt x="246374" y="254763"/>
                </a:lnTo>
                <a:cubicBezTo>
                  <a:pt x="246367" y="254771"/>
                  <a:pt x="246359" y="254779"/>
                  <a:pt x="246352" y="254786"/>
                </a:cubicBezTo>
                <a:cubicBezTo>
                  <a:pt x="246344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69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8" y="221373"/>
                </a:cubicBezTo>
                <a:cubicBezTo>
                  <a:pt x="57671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89" y="195895"/>
                  <a:pt x="53000" y="178457"/>
                  <a:pt x="53000" y="159854"/>
                </a:cubicBezTo>
                <a:cubicBezTo>
                  <a:pt x="53000" y="132604"/>
                  <a:pt x="63705" y="107854"/>
                  <a:pt x="81286" y="89721"/>
                </a:cubicBezTo>
                <a:lnTo>
                  <a:pt x="81286" y="89721"/>
                </a:ln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30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lnTo>
                  <a:pt x="297890" y="0"/>
                </a:lnTo>
                <a:cubicBezTo>
                  <a:pt x="323144" y="391"/>
                  <a:pt x="348215" y="10322"/>
                  <a:pt x="367484" y="29591"/>
                </a:cubicBezTo>
                <a:cubicBezTo>
                  <a:pt x="380644" y="42751"/>
                  <a:pt x="389448" y="58618"/>
                  <a:pt x="393604" y="75474"/>
                </a:cubicBezTo>
                <a:cubicBezTo>
                  <a:pt x="408376" y="66408"/>
                  <a:pt x="425787" y="61434"/>
                  <a:pt x="444360" y="61434"/>
                </a:cubicBezTo>
                <a:cubicBezTo>
                  <a:pt x="471610" y="61434"/>
                  <a:pt x="496360" y="72140"/>
                  <a:pt x="514494" y="89721"/>
                </a:cubicBezTo>
                <a:cubicBezTo>
                  <a:pt x="532075" y="107854"/>
                  <a:pt x="542780" y="132604"/>
                  <a:pt x="542780" y="159854"/>
                </a:cubicBezTo>
                <a:cubicBezTo>
                  <a:pt x="542780" y="178427"/>
                  <a:pt x="537807" y="195839"/>
                  <a:pt x="528740" y="210610"/>
                </a:cubicBezTo>
                <a:cubicBezTo>
                  <a:pt x="545596" y="214766"/>
                  <a:pt x="561463" y="223570"/>
                  <a:pt x="574624" y="236731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22" name="Oval 621"/>
          <p:cNvSpPr/>
          <p:nvPr/>
        </p:nvSpPr>
        <p:spPr>
          <a:xfrm>
            <a:off x="531499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23" name="Oval 622"/>
          <p:cNvSpPr/>
          <p:nvPr/>
        </p:nvSpPr>
        <p:spPr>
          <a:xfrm>
            <a:off x="25975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24" name="Oval 623"/>
          <p:cNvSpPr/>
          <p:nvPr/>
        </p:nvSpPr>
        <p:spPr>
          <a:xfrm>
            <a:off x="89165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25" name="Oval 624"/>
          <p:cNvSpPr/>
          <p:nvPr/>
        </p:nvSpPr>
        <p:spPr>
          <a:xfrm>
            <a:off x="152356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26" name="Oval 625"/>
          <p:cNvSpPr/>
          <p:nvPr/>
        </p:nvSpPr>
        <p:spPr>
          <a:xfrm>
            <a:off x="215546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27" name="Oval 626"/>
          <p:cNvSpPr/>
          <p:nvPr/>
        </p:nvSpPr>
        <p:spPr>
          <a:xfrm>
            <a:off x="278737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28" name="Oval 627"/>
          <p:cNvSpPr/>
          <p:nvPr/>
        </p:nvSpPr>
        <p:spPr>
          <a:xfrm>
            <a:off x="341927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29" name="Oval 628"/>
          <p:cNvSpPr/>
          <p:nvPr/>
        </p:nvSpPr>
        <p:spPr>
          <a:xfrm>
            <a:off x="405118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30" name="Oval 629"/>
          <p:cNvSpPr/>
          <p:nvPr/>
        </p:nvSpPr>
        <p:spPr>
          <a:xfrm>
            <a:off x="468308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31" name="Oval 630"/>
          <p:cNvSpPr/>
          <p:nvPr/>
        </p:nvSpPr>
        <p:spPr>
          <a:xfrm>
            <a:off x="657880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32" name="Oval 631"/>
          <p:cNvSpPr/>
          <p:nvPr/>
        </p:nvSpPr>
        <p:spPr>
          <a:xfrm>
            <a:off x="594689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33" name="Oval 632"/>
          <p:cNvSpPr/>
          <p:nvPr/>
        </p:nvSpPr>
        <p:spPr>
          <a:xfrm>
            <a:off x="7842610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34" name="Oval 633"/>
          <p:cNvSpPr/>
          <p:nvPr/>
        </p:nvSpPr>
        <p:spPr>
          <a:xfrm>
            <a:off x="721070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35" name="Oval 860"/>
          <p:cNvSpPr/>
          <p:nvPr/>
        </p:nvSpPr>
        <p:spPr>
          <a:xfrm>
            <a:off x="9106419" y="569139"/>
            <a:ext cx="37582" cy="2653825"/>
          </a:xfrm>
          <a:custGeom>
            <a:avLst/>
            <a:gdLst/>
            <a:ahLst/>
            <a:cxnLst/>
            <a:rect l="l" t="t" r="r" b="b"/>
            <a:pathLst>
              <a:path w="50109" h="3538433">
                <a:moveTo>
                  <a:pt x="50109" y="3384355"/>
                </a:moveTo>
                <a:lnTo>
                  <a:pt x="50109" y="3538433"/>
                </a:lnTo>
                <a:cubicBezTo>
                  <a:pt x="20497" y="3525461"/>
                  <a:pt x="0" y="3495821"/>
                  <a:pt x="0" y="3461394"/>
                </a:cubicBezTo>
                <a:cubicBezTo>
                  <a:pt x="0" y="3426967"/>
                  <a:pt x="20497" y="3397327"/>
                  <a:pt x="50109" y="3384355"/>
                </a:cubicBezTo>
                <a:close/>
                <a:moveTo>
                  <a:pt x="50109" y="2538350"/>
                </a:moveTo>
                <a:lnTo>
                  <a:pt x="50109" y="2692428"/>
                </a:lnTo>
                <a:cubicBezTo>
                  <a:pt x="20497" y="2679456"/>
                  <a:pt x="0" y="2649816"/>
                  <a:pt x="0" y="2615389"/>
                </a:cubicBezTo>
                <a:cubicBezTo>
                  <a:pt x="0" y="2580962"/>
                  <a:pt x="20497" y="2551322"/>
                  <a:pt x="50109" y="2538350"/>
                </a:cubicBezTo>
                <a:close/>
                <a:moveTo>
                  <a:pt x="50109" y="1688095"/>
                </a:moveTo>
                <a:lnTo>
                  <a:pt x="50109" y="1842173"/>
                </a:lnTo>
                <a:cubicBezTo>
                  <a:pt x="20497" y="1829201"/>
                  <a:pt x="0" y="1799561"/>
                  <a:pt x="0" y="1765134"/>
                </a:cubicBezTo>
                <a:cubicBezTo>
                  <a:pt x="0" y="1730707"/>
                  <a:pt x="20497" y="1701067"/>
                  <a:pt x="50109" y="1688095"/>
                </a:cubicBezTo>
                <a:close/>
                <a:moveTo>
                  <a:pt x="50109" y="845498"/>
                </a:moveTo>
                <a:lnTo>
                  <a:pt x="50109" y="999576"/>
                </a:lnTo>
                <a:cubicBezTo>
                  <a:pt x="20497" y="986604"/>
                  <a:pt x="0" y="956964"/>
                  <a:pt x="0" y="922537"/>
                </a:cubicBezTo>
                <a:cubicBezTo>
                  <a:pt x="0" y="888110"/>
                  <a:pt x="20497" y="858470"/>
                  <a:pt x="50109" y="845498"/>
                </a:cubicBezTo>
                <a:close/>
                <a:moveTo>
                  <a:pt x="50109" y="0"/>
                </a:moveTo>
                <a:lnTo>
                  <a:pt x="50109" y="154078"/>
                </a:lnTo>
                <a:cubicBezTo>
                  <a:pt x="20497" y="141106"/>
                  <a:pt x="0" y="111466"/>
                  <a:pt x="0" y="77039"/>
                </a:cubicBezTo>
                <a:cubicBezTo>
                  <a:pt x="0" y="42612"/>
                  <a:pt x="20497" y="12972"/>
                  <a:pt x="501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36" name="Oval 635"/>
          <p:cNvSpPr/>
          <p:nvPr/>
        </p:nvSpPr>
        <p:spPr>
          <a:xfrm>
            <a:off x="8474515" y="563262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37" name="Teardrop 3"/>
          <p:cNvSpPr/>
          <p:nvPr/>
        </p:nvSpPr>
        <p:spPr>
          <a:xfrm rot="5400000" flipH="1" flipV="1">
            <a:off x="4630509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2"/>
                </a:moveTo>
                <a:cubicBezTo>
                  <a:pt x="210766" y="314775"/>
                  <a:pt x="210686" y="297561"/>
                  <a:pt x="215167" y="281312"/>
                </a:cubicBezTo>
                <a:cubicBezTo>
                  <a:pt x="205209" y="264960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2"/>
                </a:cubicBezTo>
                <a:cubicBezTo>
                  <a:pt x="100880" y="366700"/>
                  <a:pt x="130228" y="350982"/>
                  <a:pt x="163247" y="350982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9"/>
                  <a:pt x="214135" y="333090"/>
                  <a:pt x="215380" y="331012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9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2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3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8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4"/>
                  <a:pt x="224382" y="66106"/>
                  <a:pt x="221373" y="82614"/>
                </a:cubicBezTo>
                <a:cubicBezTo>
                  <a:pt x="245960" y="100903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8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7"/>
                </a:cubicBezTo>
                <a:cubicBezTo>
                  <a:pt x="254778" y="254794"/>
                  <a:pt x="254771" y="254802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4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2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1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1"/>
                  <a:pt x="210610" y="537175"/>
                </a:cubicBezTo>
                <a:cubicBezTo>
                  <a:pt x="195839" y="546241"/>
                  <a:pt x="178427" y="551215"/>
                  <a:pt x="159854" y="551215"/>
                </a:cubicBezTo>
                <a:cubicBezTo>
                  <a:pt x="132604" y="551215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2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6"/>
                  <a:pt x="61434" y="178458"/>
                  <a:pt x="61434" y="159855"/>
                </a:cubicBezTo>
                <a:cubicBezTo>
                  <a:pt x="61434" y="132604"/>
                  <a:pt x="72139" y="107855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38" name="Teardrop 3"/>
          <p:cNvSpPr/>
          <p:nvPr/>
        </p:nvSpPr>
        <p:spPr>
          <a:xfrm rot="5400000" flipH="1" flipV="1">
            <a:off x="839080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2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2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4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4"/>
                  <a:pt x="306324" y="612648"/>
                </a:cubicBezTo>
                <a:lnTo>
                  <a:pt x="306324" y="612648"/>
                </a:ln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39" name="Teardrop 3"/>
          <p:cNvSpPr/>
          <p:nvPr/>
        </p:nvSpPr>
        <p:spPr>
          <a:xfrm rot="5400000" flipH="1" flipV="1">
            <a:off x="147098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1"/>
                </a:cubicBezTo>
                <a:cubicBezTo>
                  <a:pt x="100880" y="366700"/>
                  <a:pt x="130228" y="350981"/>
                  <a:pt x="163247" y="350981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4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90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4"/>
                  <a:pt x="306324" y="612648"/>
                </a:cubicBezTo>
                <a:lnTo>
                  <a:pt x="306324" y="612648"/>
                </a:ln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5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5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40" name="Teardrop 3"/>
          <p:cNvSpPr/>
          <p:nvPr/>
        </p:nvSpPr>
        <p:spPr>
          <a:xfrm rot="5400000" flipH="1" flipV="1">
            <a:off x="2102890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1"/>
                </a:cubicBezTo>
                <a:cubicBezTo>
                  <a:pt x="100880" y="366700"/>
                  <a:pt x="130228" y="350981"/>
                  <a:pt x="163247" y="350981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4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4"/>
                  <a:pt x="306324" y="612648"/>
                </a:cubicBezTo>
                <a:lnTo>
                  <a:pt x="306324" y="612648"/>
                </a:ln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5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8"/>
                  <a:pt x="61434" y="159855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41" name="Teardrop 3"/>
          <p:cNvSpPr/>
          <p:nvPr/>
        </p:nvSpPr>
        <p:spPr>
          <a:xfrm rot="5400000" flipH="1" flipV="1">
            <a:off x="273479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1"/>
                </a:cubicBezTo>
                <a:cubicBezTo>
                  <a:pt x="100880" y="366700"/>
                  <a:pt x="130228" y="350981"/>
                  <a:pt x="163247" y="350981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4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4"/>
                  <a:pt x="306324" y="612648"/>
                </a:cubicBezTo>
                <a:lnTo>
                  <a:pt x="306324" y="612648"/>
                </a:ln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5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8"/>
                  <a:pt x="61434" y="159855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42" name="Teardrop 3"/>
          <p:cNvSpPr/>
          <p:nvPr/>
        </p:nvSpPr>
        <p:spPr>
          <a:xfrm rot="5400000" flipH="1" flipV="1">
            <a:off x="3366700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2"/>
                </a:moveTo>
                <a:cubicBezTo>
                  <a:pt x="210766" y="314775"/>
                  <a:pt x="210686" y="297561"/>
                  <a:pt x="215167" y="281312"/>
                </a:cubicBezTo>
                <a:cubicBezTo>
                  <a:pt x="205209" y="264960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2"/>
                </a:cubicBezTo>
                <a:cubicBezTo>
                  <a:pt x="100880" y="366700"/>
                  <a:pt x="130228" y="350982"/>
                  <a:pt x="163247" y="350982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9"/>
                  <a:pt x="214135" y="333090"/>
                  <a:pt x="215380" y="331012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9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2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3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8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4"/>
                  <a:pt x="224382" y="66106"/>
                  <a:pt x="221373" y="82614"/>
                </a:cubicBezTo>
                <a:cubicBezTo>
                  <a:pt x="245960" y="100903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8"/>
                </a:cubicBezTo>
                <a:lnTo>
                  <a:pt x="306986" y="215278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7"/>
                </a:cubicBezTo>
                <a:cubicBezTo>
                  <a:pt x="254778" y="254794"/>
                  <a:pt x="254771" y="254802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4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2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1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1"/>
                  <a:pt x="210610" y="537175"/>
                </a:cubicBezTo>
                <a:cubicBezTo>
                  <a:pt x="195839" y="546241"/>
                  <a:pt x="178427" y="551215"/>
                  <a:pt x="159854" y="551215"/>
                </a:cubicBezTo>
                <a:cubicBezTo>
                  <a:pt x="132604" y="551215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2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6"/>
                  <a:pt x="61434" y="178458"/>
                  <a:pt x="61434" y="159855"/>
                </a:cubicBezTo>
                <a:cubicBezTo>
                  <a:pt x="61434" y="132604"/>
                  <a:pt x="72139" y="107855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43" name="Teardrop 3"/>
          <p:cNvSpPr/>
          <p:nvPr/>
        </p:nvSpPr>
        <p:spPr>
          <a:xfrm rot="5400000" flipH="1" flipV="1">
            <a:off x="399860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2"/>
                </a:moveTo>
                <a:cubicBezTo>
                  <a:pt x="210766" y="314775"/>
                  <a:pt x="210686" y="297561"/>
                  <a:pt x="215167" y="281312"/>
                </a:cubicBezTo>
                <a:cubicBezTo>
                  <a:pt x="205209" y="264960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2"/>
                </a:cubicBezTo>
                <a:cubicBezTo>
                  <a:pt x="100880" y="366700"/>
                  <a:pt x="130228" y="350982"/>
                  <a:pt x="163247" y="350982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9"/>
                  <a:pt x="214135" y="333090"/>
                  <a:pt x="215380" y="331012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9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2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3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8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4"/>
                  <a:pt x="224382" y="66106"/>
                  <a:pt x="221373" y="82614"/>
                </a:cubicBezTo>
                <a:cubicBezTo>
                  <a:pt x="245960" y="100903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8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7"/>
                </a:cubicBezTo>
                <a:cubicBezTo>
                  <a:pt x="254778" y="254794"/>
                  <a:pt x="254771" y="254802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4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2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1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1"/>
                  <a:pt x="210610" y="537175"/>
                </a:cubicBezTo>
                <a:cubicBezTo>
                  <a:pt x="195839" y="546241"/>
                  <a:pt x="178427" y="551215"/>
                  <a:pt x="159854" y="551215"/>
                </a:cubicBezTo>
                <a:cubicBezTo>
                  <a:pt x="132604" y="551215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2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6"/>
                  <a:pt x="61434" y="178458"/>
                  <a:pt x="61434" y="159855"/>
                </a:cubicBezTo>
                <a:cubicBezTo>
                  <a:pt x="61434" y="132604"/>
                  <a:pt x="72139" y="107855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44" name="Teardrop 3"/>
          <p:cNvSpPr/>
          <p:nvPr/>
        </p:nvSpPr>
        <p:spPr>
          <a:xfrm rot="5400000" flipH="1" flipV="1">
            <a:off x="5894320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2"/>
                </a:moveTo>
                <a:cubicBezTo>
                  <a:pt x="210766" y="314775"/>
                  <a:pt x="210686" y="297561"/>
                  <a:pt x="215167" y="281312"/>
                </a:cubicBezTo>
                <a:cubicBezTo>
                  <a:pt x="205209" y="264960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2"/>
                </a:cubicBezTo>
                <a:cubicBezTo>
                  <a:pt x="100880" y="366700"/>
                  <a:pt x="130228" y="350982"/>
                  <a:pt x="163247" y="350982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9"/>
                  <a:pt x="214135" y="333090"/>
                  <a:pt x="215380" y="331012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9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2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3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8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4"/>
                  <a:pt x="224382" y="66106"/>
                  <a:pt x="221373" y="82614"/>
                </a:cubicBezTo>
                <a:cubicBezTo>
                  <a:pt x="245960" y="100903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8"/>
                </a:cubicBezTo>
                <a:lnTo>
                  <a:pt x="306986" y="215278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7"/>
                </a:cubicBezTo>
                <a:cubicBezTo>
                  <a:pt x="254778" y="254794"/>
                  <a:pt x="254771" y="254802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4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2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1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1"/>
                  <a:pt x="210610" y="537175"/>
                </a:cubicBezTo>
                <a:cubicBezTo>
                  <a:pt x="195839" y="546241"/>
                  <a:pt x="178427" y="551215"/>
                  <a:pt x="159854" y="551215"/>
                </a:cubicBezTo>
                <a:cubicBezTo>
                  <a:pt x="132604" y="551215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2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6"/>
                  <a:pt x="61434" y="178458"/>
                  <a:pt x="61434" y="159855"/>
                </a:cubicBezTo>
                <a:cubicBezTo>
                  <a:pt x="61434" y="132604"/>
                  <a:pt x="72139" y="107855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45" name="Teardrop 3"/>
          <p:cNvSpPr/>
          <p:nvPr/>
        </p:nvSpPr>
        <p:spPr>
          <a:xfrm rot="5400000" flipH="1" flipV="1">
            <a:off x="526241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2"/>
                </a:moveTo>
                <a:cubicBezTo>
                  <a:pt x="210766" y="314775"/>
                  <a:pt x="210686" y="297561"/>
                  <a:pt x="215167" y="281312"/>
                </a:cubicBezTo>
                <a:cubicBezTo>
                  <a:pt x="205209" y="264960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3"/>
                  <a:pt x="50483" y="232539"/>
                  <a:pt x="37722" y="245300"/>
                </a:cubicBezTo>
                <a:cubicBezTo>
                  <a:pt x="20815" y="262208"/>
                  <a:pt x="11990" y="284137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4"/>
                  <a:pt x="66091" y="388259"/>
                  <a:pt x="82591" y="391302"/>
                </a:cubicBezTo>
                <a:cubicBezTo>
                  <a:pt x="100880" y="366700"/>
                  <a:pt x="130228" y="350982"/>
                  <a:pt x="163247" y="350982"/>
                </a:cubicBezTo>
                <a:cubicBezTo>
                  <a:pt x="186137" y="351421"/>
                  <a:pt x="201262" y="348532"/>
                  <a:pt x="211354" y="336664"/>
                </a:cubicBezTo>
                <a:cubicBezTo>
                  <a:pt x="212796" y="334969"/>
                  <a:pt x="214135" y="333090"/>
                  <a:pt x="215380" y="331012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8"/>
                  <a:pt x="73243" y="135634"/>
                  <a:pt x="73243" y="159545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7"/>
                  <a:pt x="230870" y="247949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8"/>
                </a:cubicBezTo>
                <a:cubicBezTo>
                  <a:pt x="113791" y="362537"/>
                  <a:pt x="73243" y="403086"/>
                  <a:pt x="73243" y="453105"/>
                </a:cubicBezTo>
                <a:cubicBezTo>
                  <a:pt x="73243" y="477015"/>
                  <a:pt x="82509" y="498762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3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9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8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8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4"/>
                  <a:pt x="224382" y="66106"/>
                  <a:pt x="221373" y="82614"/>
                </a:cubicBezTo>
                <a:cubicBezTo>
                  <a:pt x="245960" y="100903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8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2"/>
                  <a:pt x="254793" y="254779"/>
                  <a:pt x="254786" y="254787"/>
                </a:cubicBezTo>
                <a:cubicBezTo>
                  <a:pt x="254778" y="254794"/>
                  <a:pt x="254771" y="254802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8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4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4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2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1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8"/>
                </a:cubicBezTo>
                <a:cubicBezTo>
                  <a:pt x="223570" y="569897"/>
                  <a:pt x="214766" y="554031"/>
                  <a:pt x="210610" y="537175"/>
                </a:cubicBezTo>
                <a:cubicBezTo>
                  <a:pt x="195839" y="546241"/>
                  <a:pt x="178427" y="551215"/>
                  <a:pt x="159854" y="551215"/>
                </a:cubicBezTo>
                <a:cubicBezTo>
                  <a:pt x="132604" y="551215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2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8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6000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6"/>
                  <a:pt x="61434" y="178458"/>
                  <a:pt x="61434" y="159855"/>
                </a:cubicBezTo>
                <a:cubicBezTo>
                  <a:pt x="61434" y="132604"/>
                  <a:pt x="72139" y="107855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46" name="Teardrop 3"/>
          <p:cNvSpPr/>
          <p:nvPr/>
        </p:nvSpPr>
        <p:spPr>
          <a:xfrm rot="5400000" flipH="1" flipV="1">
            <a:off x="7158130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2"/>
                  <a:pt x="50483" y="232539"/>
                  <a:pt x="37722" y="245300"/>
                </a:cubicBezTo>
                <a:cubicBezTo>
                  <a:pt x="20815" y="262207"/>
                  <a:pt x="11990" y="284136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3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0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7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6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2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2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8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3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8"/>
                </a:lnTo>
                <a:cubicBezTo>
                  <a:pt x="285145" y="221632"/>
                  <a:pt x="263250" y="229876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7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90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7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47" name="Teardrop 3"/>
          <p:cNvSpPr/>
          <p:nvPr/>
        </p:nvSpPr>
        <p:spPr>
          <a:xfrm rot="5400000" flipH="1" flipV="1">
            <a:off x="652622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2"/>
                  <a:pt x="50483" y="232539"/>
                  <a:pt x="37722" y="245300"/>
                </a:cubicBezTo>
                <a:cubicBezTo>
                  <a:pt x="20815" y="262207"/>
                  <a:pt x="11990" y="284136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3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0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7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6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2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2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8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3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8"/>
                </a:lnTo>
                <a:cubicBezTo>
                  <a:pt x="285145" y="221632"/>
                  <a:pt x="263250" y="229876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7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7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48" name="Teardrop 3"/>
          <p:cNvSpPr/>
          <p:nvPr/>
        </p:nvSpPr>
        <p:spPr>
          <a:xfrm rot="5400000" flipH="1" flipV="1">
            <a:off x="8421939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2"/>
                  <a:pt x="50483" y="232539"/>
                  <a:pt x="37722" y="245300"/>
                </a:cubicBezTo>
                <a:cubicBezTo>
                  <a:pt x="20815" y="262207"/>
                  <a:pt x="11990" y="284136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3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0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7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6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2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2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8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3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8"/>
                </a:lnTo>
                <a:cubicBezTo>
                  <a:pt x="285145" y="221632"/>
                  <a:pt x="263250" y="229876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7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7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49" name="Teardrop 3"/>
          <p:cNvSpPr/>
          <p:nvPr/>
        </p:nvSpPr>
        <p:spPr>
          <a:xfrm rot="5400000" flipH="1" flipV="1">
            <a:off x="779003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2"/>
                  <a:pt x="50483" y="232539"/>
                  <a:pt x="37722" y="245300"/>
                </a:cubicBezTo>
                <a:cubicBezTo>
                  <a:pt x="20815" y="262207"/>
                  <a:pt x="11990" y="284136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3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0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7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6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2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2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8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3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8"/>
                </a:lnTo>
                <a:cubicBezTo>
                  <a:pt x="285145" y="221632"/>
                  <a:pt x="263250" y="229876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7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3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5"/>
                  <a:pt x="306324" y="612648"/>
                </a:cubicBez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7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50" name="Teardrop 3"/>
          <p:cNvSpPr/>
          <p:nvPr/>
        </p:nvSpPr>
        <p:spPr>
          <a:xfrm rot="5400000" flipH="1" flipV="1">
            <a:off x="207175" y="-122308"/>
            <a:ext cx="230240" cy="459486"/>
          </a:xfrm>
          <a:custGeom>
            <a:avLst/>
            <a:gdLst/>
            <a:ahLst/>
            <a:cxnLst/>
            <a:rect l="l" t="t" r="r" b="b"/>
            <a:pathLst>
              <a:path w="306986" h="612648">
                <a:moveTo>
                  <a:pt x="215380" y="331011"/>
                </a:moveTo>
                <a:cubicBezTo>
                  <a:pt x="210766" y="314774"/>
                  <a:pt x="210686" y="297561"/>
                  <a:pt x="215167" y="281312"/>
                </a:cubicBezTo>
                <a:cubicBezTo>
                  <a:pt x="205209" y="264959"/>
                  <a:pt x="189231" y="261169"/>
                  <a:pt x="163247" y="261668"/>
                </a:cubicBezTo>
                <a:cubicBezTo>
                  <a:pt x="130240" y="261668"/>
                  <a:pt x="100901" y="245961"/>
                  <a:pt x="82612" y="221373"/>
                </a:cubicBezTo>
                <a:cubicBezTo>
                  <a:pt x="66104" y="224382"/>
                  <a:pt x="50483" y="232539"/>
                  <a:pt x="37722" y="245300"/>
                </a:cubicBezTo>
                <a:cubicBezTo>
                  <a:pt x="20815" y="262208"/>
                  <a:pt x="11990" y="284136"/>
                  <a:pt x="11501" y="306292"/>
                </a:cubicBezTo>
                <a:lnTo>
                  <a:pt x="96667" y="306292"/>
                </a:lnTo>
                <a:lnTo>
                  <a:pt x="96667" y="306356"/>
                </a:lnTo>
                <a:lnTo>
                  <a:pt x="11501" y="306356"/>
                </a:lnTo>
                <a:cubicBezTo>
                  <a:pt x="11989" y="328512"/>
                  <a:pt x="20815" y="350441"/>
                  <a:pt x="37722" y="367348"/>
                </a:cubicBezTo>
                <a:cubicBezTo>
                  <a:pt x="50477" y="380103"/>
                  <a:pt x="66091" y="388259"/>
                  <a:pt x="82591" y="391301"/>
                </a:cubicBezTo>
                <a:cubicBezTo>
                  <a:pt x="100880" y="366699"/>
                  <a:pt x="130228" y="350981"/>
                  <a:pt x="163247" y="350981"/>
                </a:cubicBezTo>
                <a:cubicBezTo>
                  <a:pt x="186137" y="351420"/>
                  <a:pt x="201262" y="348532"/>
                  <a:pt x="211354" y="336664"/>
                </a:cubicBezTo>
                <a:cubicBezTo>
                  <a:pt x="212796" y="334968"/>
                  <a:pt x="214135" y="333090"/>
                  <a:pt x="215380" y="331011"/>
                </a:cubicBezTo>
                <a:close/>
                <a:moveTo>
                  <a:pt x="239385" y="239431"/>
                </a:moveTo>
                <a:lnTo>
                  <a:pt x="97830" y="97876"/>
                </a:lnTo>
                <a:cubicBezTo>
                  <a:pt x="82509" y="113887"/>
                  <a:pt x="73243" y="135634"/>
                  <a:pt x="73243" y="159544"/>
                </a:cubicBezTo>
                <a:cubicBezTo>
                  <a:pt x="73243" y="209563"/>
                  <a:pt x="113791" y="250112"/>
                  <a:pt x="163810" y="250112"/>
                </a:cubicBezTo>
                <a:cubicBezTo>
                  <a:pt x="182888" y="249746"/>
                  <a:pt x="207035" y="254980"/>
                  <a:pt x="219892" y="268141"/>
                </a:cubicBezTo>
                <a:cubicBezTo>
                  <a:pt x="224319" y="257686"/>
                  <a:pt x="230870" y="247948"/>
                  <a:pt x="239385" y="239431"/>
                </a:cubicBezTo>
                <a:close/>
                <a:moveTo>
                  <a:pt x="239386" y="373218"/>
                </a:moveTo>
                <a:cubicBezTo>
                  <a:pt x="230866" y="364697"/>
                  <a:pt x="224313" y="354954"/>
                  <a:pt x="219944" y="344457"/>
                </a:cubicBezTo>
                <a:cubicBezTo>
                  <a:pt x="207099" y="357655"/>
                  <a:pt x="182914" y="362904"/>
                  <a:pt x="163810" y="362537"/>
                </a:cubicBezTo>
                <a:cubicBezTo>
                  <a:pt x="113791" y="362537"/>
                  <a:pt x="73243" y="403086"/>
                  <a:pt x="73243" y="453104"/>
                </a:cubicBezTo>
                <a:cubicBezTo>
                  <a:pt x="73243" y="477015"/>
                  <a:pt x="82509" y="498761"/>
                  <a:pt x="97830" y="514773"/>
                </a:cubicBezTo>
                <a:close/>
                <a:moveTo>
                  <a:pt x="268140" y="219893"/>
                </a:moveTo>
                <a:cubicBezTo>
                  <a:pt x="254980" y="207035"/>
                  <a:pt x="249745" y="182889"/>
                  <a:pt x="250111" y="163811"/>
                </a:cubicBezTo>
                <a:cubicBezTo>
                  <a:pt x="250111" y="113792"/>
                  <a:pt x="209563" y="73244"/>
                  <a:pt x="159544" y="73244"/>
                </a:cubicBezTo>
                <a:cubicBezTo>
                  <a:pt x="135634" y="73244"/>
                  <a:pt x="113887" y="82510"/>
                  <a:pt x="97875" y="97831"/>
                </a:cubicBezTo>
                <a:lnTo>
                  <a:pt x="239430" y="239386"/>
                </a:lnTo>
                <a:cubicBezTo>
                  <a:pt x="247948" y="230871"/>
                  <a:pt x="257686" y="224320"/>
                  <a:pt x="268140" y="219893"/>
                </a:cubicBezTo>
                <a:close/>
                <a:moveTo>
                  <a:pt x="268191" y="392705"/>
                </a:moveTo>
                <a:cubicBezTo>
                  <a:pt x="257695" y="388335"/>
                  <a:pt x="247952" y="381782"/>
                  <a:pt x="239431" y="373263"/>
                </a:cubicBezTo>
                <a:lnTo>
                  <a:pt x="97875" y="514818"/>
                </a:lnTo>
                <a:cubicBezTo>
                  <a:pt x="113887" y="530139"/>
                  <a:pt x="135634" y="539405"/>
                  <a:pt x="159544" y="539405"/>
                </a:cubicBezTo>
                <a:cubicBezTo>
                  <a:pt x="184553" y="539405"/>
                  <a:pt x="207195" y="529268"/>
                  <a:pt x="223584" y="512879"/>
                </a:cubicBezTo>
                <a:cubicBezTo>
                  <a:pt x="239974" y="496489"/>
                  <a:pt x="250111" y="473847"/>
                  <a:pt x="250111" y="448838"/>
                </a:cubicBezTo>
                <a:cubicBezTo>
                  <a:pt x="249745" y="429735"/>
                  <a:pt x="254994" y="405550"/>
                  <a:pt x="268191" y="392705"/>
                </a:cubicBezTo>
                <a:close/>
                <a:moveTo>
                  <a:pt x="306986" y="138"/>
                </a:moveTo>
                <a:lnTo>
                  <a:pt x="306986" y="11636"/>
                </a:lnTo>
                <a:cubicBezTo>
                  <a:pt x="306778" y="11511"/>
                  <a:pt x="306567" y="11506"/>
                  <a:pt x="306356" y="11501"/>
                </a:cubicBezTo>
                <a:lnTo>
                  <a:pt x="306356" y="96667"/>
                </a:lnTo>
                <a:lnTo>
                  <a:pt x="306292" y="96667"/>
                </a:lnTo>
                <a:lnTo>
                  <a:pt x="306292" y="11501"/>
                </a:lnTo>
                <a:cubicBezTo>
                  <a:pt x="284137" y="11990"/>
                  <a:pt x="262207" y="20815"/>
                  <a:pt x="245300" y="37722"/>
                </a:cubicBezTo>
                <a:cubicBezTo>
                  <a:pt x="232539" y="50483"/>
                  <a:pt x="224382" y="66105"/>
                  <a:pt x="221373" y="82614"/>
                </a:cubicBezTo>
                <a:cubicBezTo>
                  <a:pt x="245960" y="100902"/>
                  <a:pt x="261667" y="130241"/>
                  <a:pt x="261667" y="163248"/>
                </a:cubicBezTo>
                <a:cubicBezTo>
                  <a:pt x="261168" y="189232"/>
                  <a:pt x="264959" y="205210"/>
                  <a:pt x="281311" y="215167"/>
                </a:cubicBezTo>
                <a:lnTo>
                  <a:pt x="306986" y="215277"/>
                </a:lnTo>
                <a:lnTo>
                  <a:pt x="306986" y="221929"/>
                </a:lnTo>
                <a:cubicBezTo>
                  <a:pt x="285145" y="221632"/>
                  <a:pt x="263250" y="229877"/>
                  <a:pt x="246580" y="246536"/>
                </a:cubicBezTo>
                <a:lnTo>
                  <a:pt x="254808" y="254763"/>
                </a:lnTo>
                <a:cubicBezTo>
                  <a:pt x="254801" y="254771"/>
                  <a:pt x="254793" y="254779"/>
                  <a:pt x="254786" y="254786"/>
                </a:cubicBezTo>
                <a:cubicBezTo>
                  <a:pt x="254778" y="254794"/>
                  <a:pt x="254771" y="254801"/>
                  <a:pt x="254763" y="254808"/>
                </a:cubicBezTo>
                <a:lnTo>
                  <a:pt x="246535" y="246581"/>
                </a:lnTo>
                <a:cubicBezTo>
                  <a:pt x="213554" y="279582"/>
                  <a:pt x="213554" y="333067"/>
                  <a:pt x="246535" y="366068"/>
                </a:cubicBezTo>
                <a:lnTo>
                  <a:pt x="254763" y="357841"/>
                </a:lnTo>
                <a:cubicBezTo>
                  <a:pt x="254771" y="357847"/>
                  <a:pt x="254778" y="357855"/>
                  <a:pt x="254786" y="357863"/>
                </a:cubicBezTo>
                <a:lnTo>
                  <a:pt x="254808" y="357886"/>
                </a:lnTo>
                <a:lnTo>
                  <a:pt x="246580" y="366113"/>
                </a:lnTo>
                <a:cubicBezTo>
                  <a:pt x="263250" y="382773"/>
                  <a:pt x="285145" y="391017"/>
                  <a:pt x="306986" y="390721"/>
                </a:cubicBezTo>
                <a:lnTo>
                  <a:pt x="306986" y="397378"/>
                </a:lnTo>
                <a:cubicBezTo>
                  <a:pt x="298457" y="400796"/>
                  <a:pt x="289920" y="399622"/>
                  <a:pt x="281637" y="397269"/>
                </a:cubicBezTo>
                <a:cubicBezTo>
                  <a:pt x="265010" y="407223"/>
                  <a:pt x="261165" y="423242"/>
                  <a:pt x="261667" y="449401"/>
                </a:cubicBezTo>
                <a:cubicBezTo>
                  <a:pt x="261667" y="477516"/>
                  <a:pt x="250271" y="502969"/>
                  <a:pt x="231847" y="521394"/>
                </a:cubicBezTo>
                <a:lnTo>
                  <a:pt x="221347" y="530057"/>
                </a:lnTo>
                <a:cubicBezTo>
                  <a:pt x="224389" y="546557"/>
                  <a:pt x="232545" y="562171"/>
                  <a:pt x="245300" y="574926"/>
                </a:cubicBezTo>
                <a:cubicBezTo>
                  <a:pt x="262207" y="591833"/>
                  <a:pt x="284136" y="600659"/>
                  <a:pt x="306292" y="601147"/>
                </a:cubicBezTo>
                <a:lnTo>
                  <a:pt x="306292" y="515981"/>
                </a:lnTo>
                <a:lnTo>
                  <a:pt x="306356" y="515981"/>
                </a:lnTo>
                <a:lnTo>
                  <a:pt x="306356" y="601147"/>
                </a:lnTo>
                <a:lnTo>
                  <a:pt x="306986" y="601012"/>
                </a:lnTo>
                <a:lnTo>
                  <a:pt x="306986" y="612510"/>
                </a:lnTo>
                <a:cubicBezTo>
                  <a:pt x="306767" y="612640"/>
                  <a:pt x="306546" y="612644"/>
                  <a:pt x="306324" y="612648"/>
                </a:cubicBezTo>
                <a:lnTo>
                  <a:pt x="306324" y="612648"/>
                </a:lnTo>
                <a:cubicBezTo>
                  <a:pt x="281070" y="612257"/>
                  <a:pt x="255999" y="602326"/>
                  <a:pt x="236731" y="583057"/>
                </a:cubicBezTo>
                <a:cubicBezTo>
                  <a:pt x="223570" y="569897"/>
                  <a:pt x="214766" y="554030"/>
                  <a:pt x="210610" y="537174"/>
                </a:cubicBezTo>
                <a:cubicBezTo>
                  <a:pt x="195839" y="546241"/>
                  <a:pt x="178427" y="551214"/>
                  <a:pt x="159854" y="551214"/>
                </a:cubicBezTo>
                <a:cubicBezTo>
                  <a:pt x="132604" y="551214"/>
                  <a:pt x="107854" y="540509"/>
                  <a:pt x="89720" y="522928"/>
                </a:cubicBezTo>
                <a:lnTo>
                  <a:pt x="89720" y="522928"/>
                </a:lnTo>
                <a:cubicBezTo>
                  <a:pt x="72139" y="504795"/>
                  <a:pt x="61434" y="480045"/>
                  <a:pt x="61434" y="452795"/>
                </a:cubicBezTo>
                <a:cubicBezTo>
                  <a:pt x="61434" y="434221"/>
                  <a:pt x="66407" y="416810"/>
                  <a:pt x="75474" y="402038"/>
                </a:cubicBezTo>
                <a:cubicBezTo>
                  <a:pt x="58618" y="397882"/>
                  <a:pt x="42751" y="389078"/>
                  <a:pt x="29591" y="375917"/>
                </a:cubicBezTo>
                <a:cubicBezTo>
                  <a:pt x="10322" y="356649"/>
                  <a:pt x="391" y="331578"/>
                  <a:pt x="0" y="306324"/>
                </a:cubicBezTo>
                <a:lnTo>
                  <a:pt x="0" y="306324"/>
                </a:lnTo>
                <a:cubicBezTo>
                  <a:pt x="391" y="281070"/>
                  <a:pt x="10322" y="255999"/>
                  <a:pt x="29591" y="236731"/>
                </a:cubicBezTo>
                <a:cubicBezTo>
                  <a:pt x="42758" y="223564"/>
                  <a:pt x="58634" y="214757"/>
                  <a:pt x="75514" y="210684"/>
                </a:cubicBezTo>
                <a:cubicBezTo>
                  <a:pt x="66423" y="195895"/>
                  <a:pt x="61434" y="178457"/>
                  <a:pt x="61434" y="159854"/>
                </a:cubicBezTo>
                <a:cubicBezTo>
                  <a:pt x="61434" y="132604"/>
                  <a:pt x="72139" y="107854"/>
                  <a:pt x="89720" y="89721"/>
                </a:cubicBezTo>
                <a:lnTo>
                  <a:pt x="89720" y="89721"/>
                </a:lnTo>
                <a:cubicBezTo>
                  <a:pt x="107854" y="72140"/>
                  <a:pt x="132604" y="61435"/>
                  <a:pt x="159854" y="61435"/>
                </a:cubicBezTo>
                <a:cubicBezTo>
                  <a:pt x="178457" y="61435"/>
                  <a:pt x="195895" y="66424"/>
                  <a:pt x="210684" y="75515"/>
                </a:cubicBezTo>
                <a:cubicBezTo>
                  <a:pt x="214757" y="58635"/>
                  <a:pt x="223563" y="42758"/>
                  <a:pt x="236731" y="29591"/>
                </a:cubicBezTo>
                <a:cubicBezTo>
                  <a:pt x="256000" y="10322"/>
                  <a:pt x="281070" y="391"/>
                  <a:pt x="306324" y="0"/>
                </a:cubicBezTo>
                <a:lnTo>
                  <a:pt x="30632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51" name="Teardrop 3"/>
          <p:cNvSpPr/>
          <p:nvPr/>
        </p:nvSpPr>
        <p:spPr>
          <a:xfrm rot="5400000" flipH="1" flipV="1">
            <a:off x="8931463" y="3693"/>
            <a:ext cx="223914" cy="201161"/>
          </a:xfrm>
          <a:custGeom>
            <a:avLst/>
            <a:gdLst/>
            <a:ahLst/>
            <a:cxnLst/>
            <a:rect l="l" t="t" r="r" b="b"/>
            <a:pathLst>
              <a:path w="298552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7" y="250112"/>
                  <a:pt x="155376" y="250112"/>
                </a:cubicBezTo>
                <a:cubicBezTo>
                  <a:pt x="174454" y="249746"/>
                  <a:pt x="198601" y="254980"/>
                  <a:pt x="211458" y="268141"/>
                </a:cubicBezTo>
                <a:cubicBezTo>
                  <a:pt x="215885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298552" y="138"/>
                </a:moveTo>
                <a:lnTo>
                  <a:pt x="298552" y="11636"/>
                </a:lnTo>
                <a:cubicBezTo>
                  <a:pt x="298344" y="11511"/>
                  <a:pt x="298133" y="11506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3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6" y="100902"/>
                  <a:pt x="253233" y="130241"/>
                  <a:pt x="253233" y="163248"/>
                </a:cubicBezTo>
                <a:cubicBezTo>
                  <a:pt x="252734" y="189232"/>
                  <a:pt x="256525" y="205210"/>
                  <a:pt x="272877" y="215167"/>
                </a:cubicBezTo>
                <a:lnTo>
                  <a:pt x="298552" y="215277"/>
                </a:lnTo>
                <a:lnTo>
                  <a:pt x="298552" y="221928"/>
                </a:lnTo>
                <a:cubicBezTo>
                  <a:pt x="276711" y="221632"/>
                  <a:pt x="254816" y="229876"/>
                  <a:pt x="238146" y="246536"/>
                </a:cubicBezTo>
                <a:lnTo>
                  <a:pt x="246374" y="254763"/>
                </a:lnTo>
                <a:cubicBezTo>
                  <a:pt x="246367" y="254771"/>
                  <a:pt x="246359" y="254779"/>
                  <a:pt x="246352" y="254786"/>
                </a:cubicBezTo>
                <a:cubicBezTo>
                  <a:pt x="246344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69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8" y="221373"/>
                </a:cubicBezTo>
                <a:cubicBezTo>
                  <a:pt x="57670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89" y="195895"/>
                  <a:pt x="53000" y="178457"/>
                  <a:pt x="53000" y="159854"/>
                </a:cubicBezTo>
                <a:cubicBezTo>
                  <a:pt x="53000" y="132604"/>
                  <a:pt x="63705" y="107854"/>
                  <a:pt x="81286" y="89721"/>
                </a:cubicBez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29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52" name="Oval 881"/>
          <p:cNvSpPr/>
          <p:nvPr/>
        </p:nvSpPr>
        <p:spPr>
          <a:xfrm>
            <a:off x="259749" y="-7683"/>
            <a:ext cx="127314" cy="63656"/>
          </a:xfrm>
          <a:custGeom>
            <a:avLst/>
            <a:gdLst/>
            <a:ahLst/>
            <a:cxnLst/>
            <a:rect l="l" t="t" r="r" b="b"/>
            <a:pathLst>
              <a:path w="169752" h="84875">
                <a:moveTo>
                  <a:pt x="0" y="0"/>
                </a:moveTo>
                <a:lnTo>
                  <a:pt x="169752" y="0"/>
                </a:lnTo>
                <a:cubicBezTo>
                  <a:pt x="169752" y="46875"/>
                  <a:pt x="131752" y="84875"/>
                  <a:pt x="84876" y="84875"/>
                </a:cubicBezTo>
                <a:cubicBezTo>
                  <a:pt x="38000" y="84875"/>
                  <a:pt x="0" y="46875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53" name="Oval 882"/>
          <p:cNvSpPr/>
          <p:nvPr/>
        </p:nvSpPr>
        <p:spPr>
          <a:xfrm>
            <a:off x="891654" y="-7683"/>
            <a:ext cx="127314" cy="63656"/>
          </a:xfrm>
          <a:custGeom>
            <a:avLst/>
            <a:gdLst/>
            <a:ahLst/>
            <a:cxnLst/>
            <a:rect l="l" t="t" r="r" b="b"/>
            <a:pathLst>
              <a:path w="169752" h="84875">
                <a:moveTo>
                  <a:pt x="0" y="0"/>
                </a:moveTo>
                <a:lnTo>
                  <a:pt x="169752" y="0"/>
                </a:lnTo>
                <a:cubicBezTo>
                  <a:pt x="169752" y="46875"/>
                  <a:pt x="131752" y="84875"/>
                  <a:pt x="84876" y="84875"/>
                </a:cubicBezTo>
                <a:cubicBezTo>
                  <a:pt x="38000" y="84875"/>
                  <a:pt x="0" y="46875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54" name="Oval 883"/>
          <p:cNvSpPr/>
          <p:nvPr/>
        </p:nvSpPr>
        <p:spPr>
          <a:xfrm>
            <a:off x="1523560" y="-7683"/>
            <a:ext cx="7620440" cy="63656"/>
          </a:xfrm>
          <a:custGeom>
            <a:avLst/>
            <a:gdLst/>
            <a:ahLst/>
            <a:cxnLst/>
            <a:rect l="l" t="t" r="r" b="b"/>
            <a:pathLst>
              <a:path w="10160587" h="84875">
                <a:moveTo>
                  <a:pt x="10110479" y="0"/>
                </a:moveTo>
                <a:lnTo>
                  <a:pt x="10160587" y="0"/>
                </a:lnTo>
                <a:lnTo>
                  <a:pt x="10160587" y="77038"/>
                </a:lnTo>
                <a:cubicBezTo>
                  <a:pt x="10130976" y="64066"/>
                  <a:pt x="10110479" y="34427"/>
                  <a:pt x="10110479" y="0"/>
                </a:cubicBezTo>
                <a:close/>
                <a:moveTo>
                  <a:pt x="9267940" y="0"/>
                </a:moveTo>
                <a:lnTo>
                  <a:pt x="9437692" y="0"/>
                </a:lnTo>
                <a:cubicBezTo>
                  <a:pt x="9437692" y="46875"/>
                  <a:pt x="9399692" y="84875"/>
                  <a:pt x="9352816" y="84875"/>
                </a:cubicBezTo>
                <a:cubicBezTo>
                  <a:pt x="9305940" y="84875"/>
                  <a:pt x="9267940" y="46875"/>
                  <a:pt x="9267940" y="0"/>
                </a:cubicBezTo>
                <a:close/>
                <a:moveTo>
                  <a:pt x="8425400" y="0"/>
                </a:moveTo>
                <a:lnTo>
                  <a:pt x="8595152" y="0"/>
                </a:lnTo>
                <a:cubicBezTo>
                  <a:pt x="8595152" y="46875"/>
                  <a:pt x="8557152" y="84875"/>
                  <a:pt x="8510276" y="84875"/>
                </a:cubicBezTo>
                <a:cubicBezTo>
                  <a:pt x="8463400" y="84875"/>
                  <a:pt x="8425400" y="46875"/>
                  <a:pt x="8425400" y="0"/>
                </a:cubicBezTo>
                <a:close/>
                <a:moveTo>
                  <a:pt x="7582860" y="0"/>
                </a:moveTo>
                <a:lnTo>
                  <a:pt x="7752612" y="0"/>
                </a:lnTo>
                <a:cubicBezTo>
                  <a:pt x="7752612" y="46875"/>
                  <a:pt x="7714612" y="84875"/>
                  <a:pt x="7667736" y="84875"/>
                </a:cubicBezTo>
                <a:cubicBezTo>
                  <a:pt x="7620860" y="84875"/>
                  <a:pt x="7582860" y="46875"/>
                  <a:pt x="7582860" y="0"/>
                </a:cubicBezTo>
                <a:close/>
                <a:moveTo>
                  <a:pt x="6740320" y="0"/>
                </a:moveTo>
                <a:lnTo>
                  <a:pt x="6910072" y="0"/>
                </a:lnTo>
                <a:cubicBezTo>
                  <a:pt x="6910072" y="46875"/>
                  <a:pt x="6872072" y="84875"/>
                  <a:pt x="6825196" y="84875"/>
                </a:cubicBezTo>
                <a:cubicBezTo>
                  <a:pt x="6778320" y="84875"/>
                  <a:pt x="6740320" y="46875"/>
                  <a:pt x="6740320" y="0"/>
                </a:cubicBezTo>
                <a:close/>
                <a:moveTo>
                  <a:pt x="5897780" y="0"/>
                </a:moveTo>
                <a:lnTo>
                  <a:pt x="6067532" y="0"/>
                </a:lnTo>
                <a:cubicBezTo>
                  <a:pt x="6067532" y="46875"/>
                  <a:pt x="6029532" y="84875"/>
                  <a:pt x="5982656" y="84875"/>
                </a:cubicBezTo>
                <a:cubicBezTo>
                  <a:pt x="5935780" y="84875"/>
                  <a:pt x="5897780" y="46875"/>
                  <a:pt x="5897780" y="0"/>
                </a:cubicBezTo>
                <a:close/>
                <a:moveTo>
                  <a:pt x="5055240" y="0"/>
                </a:moveTo>
                <a:lnTo>
                  <a:pt x="5224992" y="0"/>
                </a:lnTo>
                <a:cubicBezTo>
                  <a:pt x="5224992" y="46875"/>
                  <a:pt x="5186992" y="84875"/>
                  <a:pt x="5140116" y="84875"/>
                </a:cubicBezTo>
                <a:cubicBezTo>
                  <a:pt x="5093240" y="84875"/>
                  <a:pt x="5055240" y="46875"/>
                  <a:pt x="5055240" y="0"/>
                </a:cubicBezTo>
                <a:close/>
                <a:moveTo>
                  <a:pt x="4212700" y="0"/>
                </a:moveTo>
                <a:lnTo>
                  <a:pt x="4382452" y="0"/>
                </a:lnTo>
                <a:cubicBezTo>
                  <a:pt x="4382452" y="46875"/>
                  <a:pt x="4344452" y="84875"/>
                  <a:pt x="4297576" y="84875"/>
                </a:cubicBezTo>
                <a:cubicBezTo>
                  <a:pt x="4250700" y="84875"/>
                  <a:pt x="4212700" y="46875"/>
                  <a:pt x="4212700" y="0"/>
                </a:cubicBezTo>
                <a:close/>
                <a:moveTo>
                  <a:pt x="3370160" y="0"/>
                </a:moveTo>
                <a:lnTo>
                  <a:pt x="3539912" y="0"/>
                </a:lnTo>
                <a:cubicBezTo>
                  <a:pt x="3539912" y="46875"/>
                  <a:pt x="3501912" y="84875"/>
                  <a:pt x="3455036" y="84875"/>
                </a:cubicBezTo>
                <a:cubicBezTo>
                  <a:pt x="3408160" y="84875"/>
                  <a:pt x="3370160" y="46875"/>
                  <a:pt x="3370160" y="0"/>
                </a:cubicBezTo>
                <a:close/>
                <a:moveTo>
                  <a:pt x="2527620" y="0"/>
                </a:moveTo>
                <a:lnTo>
                  <a:pt x="2697372" y="0"/>
                </a:lnTo>
                <a:cubicBezTo>
                  <a:pt x="2697372" y="46875"/>
                  <a:pt x="2659372" y="84875"/>
                  <a:pt x="2612496" y="84875"/>
                </a:cubicBezTo>
                <a:cubicBezTo>
                  <a:pt x="2565620" y="84875"/>
                  <a:pt x="2527620" y="46875"/>
                  <a:pt x="2527620" y="0"/>
                </a:cubicBezTo>
                <a:close/>
                <a:moveTo>
                  <a:pt x="1685080" y="0"/>
                </a:moveTo>
                <a:lnTo>
                  <a:pt x="1854832" y="0"/>
                </a:lnTo>
                <a:cubicBezTo>
                  <a:pt x="1854832" y="46875"/>
                  <a:pt x="1816832" y="84875"/>
                  <a:pt x="1769956" y="84875"/>
                </a:cubicBezTo>
                <a:cubicBezTo>
                  <a:pt x="1723080" y="84875"/>
                  <a:pt x="1685080" y="46875"/>
                  <a:pt x="1685080" y="0"/>
                </a:cubicBezTo>
                <a:close/>
                <a:moveTo>
                  <a:pt x="842540" y="0"/>
                </a:moveTo>
                <a:lnTo>
                  <a:pt x="1012292" y="0"/>
                </a:lnTo>
                <a:cubicBezTo>
                  <a:pt x="1012292" y="46875"/>
                  <a:pt x="974292" y="84875"/>
                  <a:pt x="927416" y="84875"/>
                </a:cubicBezTo>
                <a:cubicBezTo>
                  <a:pt x="880540" y="84875"/>
                  <a:pt x="842540" y="46875"/>
                  <a:pt x="842540" y="0"/>
                </a:cubicBezTo>
                <a:close/>
                <a:moveTo>
                  <a:pt x="0" y="0"/>
                </a:moveTo>
                <a:lnTo>
                  <a:pt x="169752" y="0"/>
                </a:lnTo>
                <a:cubicBezTo>
                  <a:pt x="169752" y="46875"/>
                  <a:pt x="131752" y="84875"/>
                  <a:pt x="84876" y="84875"/>
                </a:cubicBezTo>
                <a:cubicBezTo>
                  <a:pt x="38000" y="84875"/>
                  <a:pt x="0" y="46875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55" name="Teardrop 3"/>
          <p:cNvSpPr/>
          <p:nvPr/>
        </p:nvSpPr>
        <p:spPr>
          <a:xfrm rot="5400000" flipH="1" flipV="1">
            <a:off x="483207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56" name="Teardrop 3"/>
          <p:cNvSpPr/>
          <p:nvPr/>
        </p:nvSpPr>
        <p:spPr>
          <a:xfrm rot="5400000" flipH="1" flipV="1">
            <a:off x="-111581" y="827860"/>
            <a:ext cx="459486" cy="236325"/>
          </a:xfrm>
          <a:custGeom>
            <a:avLst/>
            <a:gdLst/>
            <a:ahLst/>
            <a:cxnLst/>
            <a:rect l="l" t="t" r="r" b="b"/>
            <a:pathLst>
              <a:path w="612648" h="315100">
                <a:moveTo>
                  <a:pt x="239386" y="75670"/>
                </a:moveTo>
                <a:cubicBezTo>
                  <a:pt x="230866" y="67149"/>
                  <a:pt x="224313" y="57406"/>
                  <a:pt x="219944" y="46909"/>
                </a:cubicBezTo>
                <a:cubicBezTo>
                  <a:pt x="207099" y="60107"/>
                  <a:pt x="182914" y="65356"/>
                  <a:pt x="163810" y="64989"/>
                </a:cubicBezTo>
                <a:cubicBezTo>
                  <a:pt x="113792" y="64989"/>
                  <a:pt x="73243" y="105538"/>
                  <a:pt x="73243" y="155556"/>
                </a:cubicBezTo>
                <a:cubicBezTo>
                  <a:pt x="73243" y="179467"/>
                  <a:pt x="82509" y="201213"/>
                  <a:pt x="97830" y="217225"/>
                </a:cubicBezTo>
                <a:close/>
                <a:moveTo>
                  <a:pt x="268191" y="95157"/>
                </a:moveTo>
                <a:cubicBezTo>
                  <a:pt x="257695" y="90787"/>
                  <a:pt x="247952" y="84234"/>
                  <a:pt x="239431" y="75715"/>
                </a:cubicBezTo>
                <a:lnTo>
                  <a:pt x="97875" y="217270"/>
                </a:lnTo>
                <a:cubicBezTo>
                  <a:pt x="113887" y="232591"/>
                  <a:pt x="135634" y="241857"/>
                  <a:pt x="159544" y="241857"/>
                </a:cubicBezTo>
                <a:cubicBezTo>
                  <a:pt x="184553" y="241857"/>
                  <a:pt x="207195" y="231720"/>
                  <a:pt x="223585" y="215331"/>
                </a:cubicBezTo>
                <a:cubicBezTo>
                  <a:pt x="239974" y="198941"/>
                  <a:pt x="250111" y="176299"/>
                  <a:pt x="250111" y="151290"/>
                </a:cubicBezTo>
                <a:cubicBezTo>
                  <a:pt x="249745" y="132187"/>
                  <a:pt x="254994" y="108002"/>
                  <a:pt x="268191" y="95157"/>
                </a:cubicBezTo>
                <a:close/>
                <a:moveTo>
                  <a:pt x="391275" y="232488"/>
                </a:moveTo>
                <a:cubicBezTo>
                  <a:pt x="366688" y="214199"/>
                  <a:pt x="350981" y="184860"/>
                  <a:pt x="350981" y="151853"/>
                </a:cubicBezTo>
                <a:cubicBezTo>
                  <a:pt x="351479" y="125869"/>
                  <a:pt x="347689" y="109892"/>
                  <a:pt x="331337" y="99934"/>
                </a:cubicBezTo>
                <a:cubicBezTo>
                  <a:pt x="315088" y="104415"/>
                  <a:pt x="297874" y="104335"/>
                  <a:pt x="281637" y="99721"/>
                </a:cubicBezTo>
                <a:cubicBezTo>
                  <a:pt x="265010" y="109675"/>
                  <a:pt x="261165" y="125694"/>
                  <a:pt x="261667" y="151853"/>
                </a:cubicBezTo>
                <a:cubicBezTo>
                  <a:pt x="261667" y="179968"/>
                  <a:pt x="250271" y="205421"/>
                  <a:pt x="231847" y="223846"/>
                </a:cubicBezTo>
                <a:lnTo>
                  <a:pt x="221347" y="232509"/>
                </a:lnTo>
                <a:cubicBezTo>
                  <a:pt x="224390" y="249009"/>
                  <a:pt x="232545" y="264623"/>
                  <a:pt x="245300" y="277378"/>
                </a:cubicBezTo>
                <a:cubicBezTo>
                  <a:pt x="262207" y="294285"/>
                  <a:pt x="284136" y="303111"/>
                  <a:pt x="306292" y="303599"/>
                </a:cubicBezTo>
                <a:lnTo>
                  <a:pt x="306292" y="218433"/>
                </a:lnTo>
                <a:lnTo>
                  <a:pt x="306356" y="218433"/>
                </a:lnTo>
                <a:lnTo>
                  <a:pt x="306356" y="303599"/>
                </a:lnTo>
                <a:cubicBezTo>
                  <a:pt x="328512" y="303110"/>
                  <a:pt x="350441" y="294285"/>
                  <a:pt x="367348" y="277378"/>
                </a:cubicBezTo>
                <a:cubicBezTo>
                  <a:pt x="380109" y="264617"/>
                  <a:pt x="388266" y="248996"/>
                  <a:pt x="391275" y="232488"/>
                </a:cubicBezTo>
                <a:close/>
                <a:moveTo>
                  <a:pt x="514773" y="217271"/>
                </a:moveTo>
                <a:lnTo>
                  <a:pt x="373218" y="75716"/>
                </a:lnTo>
                <a:cubicBezTo>
                  <a:pt x="364700" y="84231"/>
                  <a:pt x="354962" y="90781"/>
                  <a:pt x="344508" y="95209"/>
                </a:cubicBezTo>
                <a:cubicBezTo>
                  <a:pt x="357668" y="108066"/>
                  <a:pt x="362903" y="132212"/>
                  <a:pt x="362537" y="151290"/>
                </a:cubicBezTo>
                <a:cubicBezTo>
                  <a:pt x="362537" y="201309"/>
                  <a:pt x="403085" y="241857"/>
                  <a:pt x="453104" y="241857"/>
                </a:cubicBezTo>
                <a:cubicBezTo>
                  <a:pt x="477015" y="241857"/>
                  <a:pt x="498761" y="232592"/>
                  <a:pt x="514773" y="217271"/>
                </a:cubicBezTo>
                <a:close/>
                <a:moveTo>
                  <a:pt x="539405" y="155556"/>
                </a:moveTo>
                <a:cubicBezTo>
                  <a:pt x="539405" y="105538"/>
                  <a:pt x="498856" y="64989"/>
                  <a:pt x="448838" y="64989"/>
                </a:cubicBezTo>
                <a:cubicBezTo>
                  <a:pt x="429760" y="65355"/>
                  <a:pt x="405614" y="60121"/>
                  <a:pt x="392756" y="46961"/>
                </a:cubicBezTo>
                <a:cubicBezTo>
                  <a:pt x="388329" y="57415"/>
                  <a:pt x="381778" y="67153"/>
                  <a:pt x="373263" y="75671"/>
                </a:cubicBezTo>
                <a:lnTo>
                  <a:pt x="514818" y="217225"/>
                </a:lnTo>
                <a:cubicBezTo>
                  <a:pt x="530139" y="201213"/>
                  <a:pt x="539405" y="179467"/>
                  <a:pt x="539405" y="155556"/>
                </a:cubicBezTo>
                <a:close/>
                <a:moveTo>
                  <a:pt x="612648" y="8776"/>
                </a:moveTo>
                <a:cubicBezTo>
                  <a:pt x="612257" y="34030"/>
                  <a:pt x="602326" y="59101"/>
                  <a:pt x="583058" y="78369"/>
                </a:cubicBezTo>
                <a:cubicBezTo>
                  <a:pt x="569890" y="91537"/>
                  <a:pt x="554014" y="100343"/>
                  <a:pt x="537134" y="104416"/>
                </a:cubicBezTo>
                <a:cubicBezTo>
                  <a:pt x="546224" y="119205"/>
                  <a:pt x="551214" y="136643"/>
                  <a:pt x="551214" y="155247"/>
                </a:cubicBezTo>
                <a:cubicBezTo>
                  <a:pt x="551214" y="182497"/>
                  <a:pt x="540509" y="207247"/>
                  <a:pt x="522928" y="225380"/>
                </a:cubicBezTo>
                <a:lnTo>
                  <a:pt x="522928" y="225380"/>
                </a:lnTo>
                <a:cubicBezTo>
                  <a:pt x="504794" y="242961"/>
                  <a:pt x="480044" y="253667"/>
                  <a:pt x="452794" y="253667"/>
                </a:cubicBezTo>
                <a:cubicBezTo>
                  <a:pt x="434191" y="253667"/>
                  <a:pt x="416753" y="248677"/>
                  <a:pt x="401964" y="239586"/>
                </a:cubicBezTo>
                <a:cubicBezTo>
                  <a:pt x="397891" y="256466"/>
                  <a:pt x="389084" y="272342"/>
                  <a:pt x="375917" y="285509"/>
                </a:cubicBezTo>
                <a:cubicBezTo>
                  <a:pt x="356649" y="304778"/>
                  <a:pt x="331578" y="314709"/>
                  <a:pt x="306324" y="315100"/>
                </a:cubicBezTo>
                <a:lnTo>
                  <a:pt x="306324" y="315100"/>
                </a:lnTo>
                <a:cubicBezTo>
                  <a:pt x="281070" y="314709"/>
                  <a:pt x="255999" y="304778"/>
                  <a:pt x="236731" y="285509"/>
                </a:cubicBezTo>
                <a:cubicBezTo>
                  <a:pt x="223571" y="272349"/>
                  <a:pt x="214766" y="256482"/>
                  <a:pt x="210610" y="239626"/>
                </a:cubicBezTo>
                <a:cubicBezTo>
                  <a:pt x="195839" y="248693"/>
                  <a:pt x="178427" y="253666"/>
                  <a:pt x="159854" y="253666"/>
                </a:cubicBezTo>
                <a:cubicBezTo>
                  <a:pt x="132604" y="253666"/>
                  <a:pt x="107854" y="242961"/>
                  <a:pt x="89720" y="225380"/>
                </a:cubicBezTo>
                <a:lnTo>
                  <a:pt x="89720" y="225380"/>
                </a:lnTo>
                <a:cubicBezTo>
                  <a:pt x="72139" y="207247"/>
                  <a:pt x="61434" y="182497"/>
                  <a:pt x="61434" y="155247"/>
                </a:cubicBezTo>
                <a:cubicBezTo>
                  <a:pt x="61434" y="136673"/>
                  <a:pt x="66407" y="119262"/>
                  <a:pt x="75474" y="104490"/>
                </a:cubicBezTo>
                <a:cubicBezTo>
                  <a:pt x="58618" y="100334"/>
                  <a:pt x="42751" y="91530"/>
                  <a:pt x="29591" y="78369"/>
                </a:cubicBezTo>
                <a:cubicBezTo>
                  <a:pt x="10322" y="59101"/>
                  <a:pt x="391" y="34030"/>
                  <a:pt x="0" y="8776"/>
                </a:cubicBezTo>
                <a:lnTo>
                  <a:pt x="0" y="8776"/>
                </a:lnTo>
                <a:lnTo>
                  <a:pt x="1828" y="0"/>
                </a:lnTo>
                <a:lnTo>
                  <a:pt x="13374" y="0"/>
                </a:lnTo>
                <a:cubicBezTo>
                  <a:pt x="11782" y="2802"/>
                  <a:pt x="11567" y="5771"/>
                  <a:pt x="11501" y="8744"/>
                </a:cubicBezTo>
                <a:lnTo>
                  <a:pt x="96667" y="8744"/>
                </a:lnTo>
                <a:lnTo>
                  <a:pt x="96667" y="8808"/>
                </a:lnTo>
                <a:lnTo>
                  <a:pt x="11501" y="8808"/>
                </a:lnTo>
                <a:cubicBezTo>
                  <a:pt x="11989" y="30964"/>
                  <a:pt x="20815" y="52893"/>
                  <a:pt x="37722" y="69800"/>
                </a:cubicBezTo>
                <a:cubicBezTo>
                  <a:pt x="50477" y="82555"/>
                  <a:pt x="66091" y="90711"/>
                  <a:pt x="82592" y="93753"/>
                </a:cubicBezTo>
                <a:cubicBezTo>
                  <a:pt x="100880" y="69151"/>
                  <a:pt x="130228" y="53433"/>
                  <a:pt x="163247" y="53433"/>
                </a:cubicBezTo>
                <a:cubicBezTo>
                  <a:pt x="186137" y="53872"/>
                  <a:pt x="201262" y="50984"/>
                  <a:pt x="211355" y="39116"/>
                </a:cubicBezTo>
                <a:cubicBezTo>
                  <a:pt x="212796" y="37420"/>
                  <a:pt x="214135" y="35542"/>
                  <a:pt x="215380" y="33463"/>
                </a:cubicBezTo>
                <a:lnTo>
                  <a:pt x="215236" y="0"/>
                </a:lnTo>
                <a:lnTo>
                  <a:pt x="223506" y="0"/>
                </a:lnTo>
                <a:cubicBezTo>
                  <a:pt x="219687" y="24354"/>
                  <a:pt x="227777" y="49750"/>
                  <a:pt x="246535" y="68520"/>
                </a:cubicBezTo>
                <a:lnTo>
                  <a:pt x="254763" y="60293"/>
                </a:lnTo>
                <a:cubicBezTo>
                  <a:pt x="254771" y="60299"/>
                  <a:pt x="254778" y="60307"/>
                  <a:pt x="254786" y="60315"/>
                </a:cubicBezTo>
                <a:lnTo>
                  <a:pt x="254808" y="60338"/>
                </a:lnTo>
                <a:lnTo>
                  <a:pt x="246580" y="68565"/>
                </a:lnTo>
                <a:cubicBezTo>
                  <a:pt x="279582" y="101547"/>
                  <a:pt x="333066" y="101547"/>
                  <a:pt x="366068" y="68565"/>
                </a:cubicBezTo>
                <a:lnTo>
                  <a:pt x="357840" y="60338"/>
                </a:lnTo>
                <a:cubicBezTo>
                  <a:pt x="357847" y="60330"/>
                  <a:pt x="357855" y="60322"/>
                  <a:pt x="357862" y="60315"/>
                </a:cubicBezTo>
                <a:lnTo>
                  <a:pt x="357885" y="60293"/>
                </a:lnTo>
                <a:lnTo>
                  <a:pt x="366113" y="68520"/>
                </a:lnTo>
                <a:cubicBezTo>
                  <a:pt x="384871" y="49750"/>
                  <a:pt x="392961" y="24354"/>
                  <a:pt x="389142" y="0"/>
                </a:cubicBezTo>
                <a:lnTo>
                  <a:pt x="397337" y="0"/>
                </a:lnTo>
                <a:cubicBezTo>
                  <a:pt x="401479" y="11094"/>
                  <a:pt x="400548" y="22668"/>
                  <a:pt x="397481" y="33790"/>
                </a:cubicBezTo>
                <a:cubicBezTo>
                  <a:pt x="407439" y="50142"/>
                  <a:pt x="423417" y="53932"/>
                  <a:pt x="449401" y="53433"/>
                </a:cubicBezTo>
                <a:cubicBezTo>
                  <a:pt x="482407" y="53434"/>
                  <a:pt x="511746" y="69140"/>
                  <a:pt x="530035" y="93727"/>
                </a:cubicBezTo>
                <a:cubicBezTo>
                  <a:pt x="546543" y="90718"/>
                  <a:pt x="562165" y="82561"/>
                  <a:pt x="574926" y="69800"/>
                </a:cubicBezTo>
                <a:cubicBezTo>
                  <a:pt x="591833" y="52893"/>
                  <a:pt x="600658" y="30964"/>
                  <a:pt x="601147" y="8808"/>
                </a:cubicBezTo>
                <a:lnTo>
                  <a:pt x="515982" y="8808"/>
                </a:lnTo>
                <a:lnTo>
                  <a:pt x="515981" y="8744"/>
                </a:lnTo>
                <a:lnTo>
                  <a:pt x="601147" y="8744"/>
                </a:lnTo>
                <a:lnTo>
                  <a:pt x="599274" y="0"/>
                </a:lnTo>
                <a:lnTo>
                  <a:pt x="610820" y="0"/>
                </a:lnTo>
                <a:cubicBezTo>
                  <a:pt x="612423" y="2826"/>
                  <a:pt x="612602" y="5800"/>
                  <a:pt x="612648" y="877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57" name="Teardrop 3"/>
          <p:cNvSpPr/>
          <p:nvPr/>
        </p:nvSpPr>
        <p:spPr>
          <a:xfrm rot="5400000" flipH="1" flipV="1">
            <a:off x="104064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58" name="Teardrop 3"/>
          <p:cNvSpPr/>
          <p:nvPr/>
        </p:nvSpPr>
        <p:spPr>
          <a:xfrm rot="5400000" flipH="1" flipV="1">
            <a:off x="167255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59" name="Teardrop 3"/>
          <p:cNvSpPr/>
          <p:nvPr/>
        </p:nvSpPr>
        <p:spPr>
          <a:xfrm rot="5400000" flipH="1" flipV="1">
            <a:off x="230445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60" name="Teardrop 3"/>
          <p:cNvSpPr/>
          <p:nvPr/>
        </p:nvSpPr>
        <p:spPr>
          <a:xfrm rot="5400000" flipH="1" flipV="1">
            <a:off x="293636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61" name="Teardrop 3"/>
          <p:cNvSpPr/>
          <p:nvPr/>
        </p:nvSpPr>
        <p:spPr>
          <a:xfrm rot="5400000" flipH="1" flipV="1">
            <a:off x="356826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62" name="Teardrop 3"/>
          <p:cNvSpPr/>
          <p:nvPr/>
        </p:nvSpPr>
        <p:spPr>
          <a:xfrm rot="5400000" flipH="1" flipV="1">
            <a:off x="420017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63" name="Teardrop 3"/>
          <p:cNvSpPr/>
          <p:nvPr/>
        </p:nvSpPr>
        <p:spPr>
          <a:xfrm rot="5400000" flipH="1" flipV="1">
            <a:off x="609588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64" name="Teardrop 3"/>
          <p:cNvSpPr/>
          <p:nvPr/>
        </p:nvSpPr>
        <p:spPr>
          <a:xfrm rot="5400000" flipH="1" flipV="1">
            <a:off x="546398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65" name="Teardrop 3"/>
          <p:cNvSpPr/>
          <p:nvPr/>
        </p:nvSpPr>
        <p:spPr>
          <a:xfrm rot="5400000" flipH="1" flipV="1">
            <a:off x="7359699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66" name="Teardrop 3"/>
          <p:cNvSpPr/>
          <p:nvPr/>
        </p:nvSpPr>
        <p:spPr>
          <a:xfrm rot="5400000" flipH="1" flipV="1">
            <a:off x="672779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67" name="Teardrop 3"/>
          <p:cNvSpPr/>
          <p:nvPr/>
        </p:nvSpPr>
        <p:spPr>
          <a:xfrm rot="5400000" flipH="1" flipV="1">
            <a:off x="8623508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68" name="Teardrop 3"/>
          <p:cNvSpPr/>
          <p:nvPr/>
        </p:nvSpPr>
        <p:spPr>
          <a:xfrm rot="5400000" flipH="1" flipV="1">
            <a:off x="799160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69" name="Teardrop 3"/>
          <p:cNvSpPr/>
          <p:nvPr/>
        </p:nvSpPr>
        <p:spPr>
          <a:xfrm rot="5400000" flipH="1" flipV="1">
            <a:off x="408744" y="716279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70" name="Oval 669"/>
          <p:cNvSpPr/>
          <p:nvPr/>
        </p:nvSpPr>
        <p:spPr>
          <a:xfrm>
            <a:off x="499838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71" name="Oval 670"/>
          <p:cNvSpPr/>
          <p:nvPr/>
        </p:nvSpPr>
        <p:spPr>
          <a:xfrm>
            <a:off x="57504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72" name="Oval 671"/>
          <p:cNvSpPr/>
          <p:nvPr/>
        </p:nvSpPr>
        <p:spPr>
          <a:xfrm>
            <a:off x="120695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73" name="Oval 672"/>
          <p:cNvSpPr/>
          <p:nvPr/>
        </p:nvSpPr>
        <p:spPr>
          <a:xfrm>
            <a:off x="183885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74" name="Oval 673"/>
          <p:cNvSpPr/>
          <p:nvPr/>
        </p:nvSpPr>
        <p:spPr>
          <a:xfrm>
            <a:off x="247076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75" name="Oval 674"/>
          <p:cNvSpPr/>
          <p:nvPr/>
        </p:nvSpPr>
        <p:spPr>
          <a:xfrm>
            <a:off x="310266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76" name="Oval 675"/>
          <p:cNvSpPr/>
          <p:nvPr/>
        </p:nvSpPr>
        <p:spPr>
          <a:xfrm>
            <a:off x="373457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77" name="Oval 676"/>
          <p:cNvSpPr/>
          <p:nvPr/>
        </p:nvSpPr>
        <p:spPr>
          <a:xfrm>
            <a:off x="436647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78" name="Oval 677"/>
          <p:cNvSpPr/>
          <p:nvPr/>
        </p:nvSpPr>
        <p:spPr>
          <a:xfrm>
            <a:off x="626219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79" name="Oval 678"/>
          <p:cNvSpPr/>
          <p:nvPr/>
        </p:nvSpPr>
        <p:spPr>
          <a:xfrm>
            <a:off x="563028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80" name="Oval 679"/>
          <p:cNvSpPr/>
          <p:nvPr/>
        </p:nvSpPr>
        <p:spPr>
          <a:xfrm>
            <a:off x="7526004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81" name="Oval 680"/>
          <p:cNvSpPr/>
          <p:nvPr/>
        </p:nvSpPr>
        <p:spPr>
          <a:xfrm>
            <a:off x="689409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82" name="Oval 681"/>
          <p:cNvSpPr/>
          <p:nvPr/>
        </p:nvSpPr>
        <p:spPr>
          <a:xfrm>
            <a:off x="8789813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83" name="Oval 682"/>
          <p:cNvSpPr/>
          <p:nvPr/>
        </p:nvSpPr>
        <p:spPr>
          <a:xfrm>
            <a:off x="8157909" y="882897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84" name="Teardrop 3"/>
          <p:cNvSpPr/>
          <p:nvPr/>
        </p:nvSpPr>
        <p:spPr>
          <a:xfrm rot="5400000" flipH="1" flipV="1">
            <a:off x="4515886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85" name="Teardrop 3"/>
          <p:cNvSpPr/>
          <p:nvPr/>
        </p:nvSpPr>
        <p:spPr>
          <a:xfrm rot="5400000" flipH="1" flipV="1">
            <a:off x="724457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86" name="Teardrop 3"/>
          <p:cNvSpPr/>
          <p:nvPr/>
        </p:nvSpPr>
        <p:spPr>
          <a:xfrm rot="5400000" flipH="1" flipV="1">
            <a:off x="135636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87" name="Teardrop 3"/>
          <p:cNvSpPr/>
          <p:nvPr/>
        </p:nvSpPr>
        <p:spPr>
          <a:xfrm rot="5400000" flipH="1" flipV="1">
            <a:off x="1988267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88" name="Teardrop 3"/>
          <p:cNvSpPr/>
          <p:nvPr/>
        </p:nvSpPr>
        <p:spPr>
          <a:xfrm rot="5400000" flipH="1" flipV="1">
            <a:off x="262017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89" name="Teardrop 3"/>
          <p:cNvSpPr/>
          <p:nvPr/>
        </p:nvSpPr>
        <p:spPr>
          <a:xfrm rot="5400000" flipH="1" flipV="1">
            <a:off x="3252077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90" name="Teardrop 3"/>
          <p:cNvSpPr/>
          <p:nvPr/>
        </p:nvSpPr>
        <p:spPr>
          <a:xfrm rot="5400000" flipH="1" flipV="1">
            <a:off x="388398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91" name="Teardrop 3"/>
          <p:cNvSpPr/>
          <p:nvPr/>
        </p:nvSpPr>
        <p:spPr>
          <a:xfrm rot="5400000" flipH="1" flipV="1">
            <a:off x="5779697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92" name="Teardrop 3"/>
          <p:cNvSpPr/>
          <p:nvPr/>
        </p:nvSpPr>
        <p:spPr>
          <a:xfrm rot="5400000" flipH="1" flipV="1">
            <a:off x="514779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93" name="Teardrop 3"/>
          <p:cNvSpPr/>
          <p:nvPr/>
        </p:nvSpPr>
        <p:spPr>
          <a:xfrm rot="5400000" flipH="1" flipV="1">
            <a:off x="7043507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94" name="Teardrop 3"/>
          <p:cNvSpPr/>
          <p:nvPr/>
        </p:nvSpPr>
        <p:spPr>
          <a:xfrm rot="5400000" flipH="1" flipV="1">
            <a:off x="641160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95" name="Teardrop 3"/>
          <p:cNvSpPr/>
          <p:nvPr/>
        </p:nvSpPr>
        <p:spPr>
          <a:xfrm rot="5400000" flipH="1" flipV="1">
            <a:off x="8307316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96" name="Teardrop 3"/>
          <p:cNvSpPr/>
          <p:nvPr/>
        </p:nvSpPr>
        <p:spPr>
          <a:xfrm rot="5400000" flipH="1" flipV="1">
            <a:off x="767541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97" name="Teardrop 3"/>
          <p:cNvSpPr/>
          <p:nvPr/>
        </p:nvSpPr>
        <p:spPr>
          <a:xfrm rot="5400000" flipH="1" flipV="1">
            <a:off x="92552" y="1031795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98" name="Teardrop 3"/>
          <p:cNvSpPr/>
          <p:nvPr/>
        </p:nvSpPr>
        <p:spPr>
          <a:xfrm rot="5400000" flipH="1" flipV="1">
            <a:off x="8820002" y="1148309"/>
            <a:ext cx="446836" cy="201161"/>
          </a:xfrm>
          <a:custGeom>
            <a:avLst/>
            <a:gdLst/>
            <a:ahLst/>
            <a:cxnLst/>
            <a:rect l="l" t="t" r="r" b="b"/>
            <a:pathLst>
              <a:path w="595781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7" y="250112"/>
                  <a:pt x="155376" y="250112"/>
                </a:cubicBezTo>
                <a:cubicBezTo>
                  <a:pt x="174454" y="249746"/>
                  <a:pt x="198601" y="254980"/>
                  <a:pt x="211458" y="268141"/>
                </a:cubicBezTo>
                <a:cubicBezTo>
                  <a:pt x="215885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382868" y="82592"/>
                </a:moveTo>
                <a:cubicBezTo>
                  <a:pt x="379825" y="66091"/>
                  <a:pt x="371670" y="50477"/>
                  <a:pt x="358914" y="37722"/>
                </a:cubicBezTo>
                <a:cubicBezTo>
                  <a:pt x="342007" y="20815"/>
                  <a:pt x="320078" y="11989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3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6" y="100902"/>
                  <a:pt x="253233" y="130241"/>
                  <a:pt x="253233" y="163248"/>
                </a:cubicBezTo>
                <a:cubicBezTo>
                  <a:pt x="252735" y="189232"/>
                  <a:pt x="256525" y="205210"/>
                  <a:pt x="272877" y="215167"/>
                </a:cubicBezTo>
                <a:cubicBezTo>
                  <a:pt x="289126" y="210687"/>
                  <a:pt x="306340" y="210767"/>
                  <a:pt x="322577" y="215380"/>
                </a:cubicBezTo>
                <a:cubicBezTo>
                  <a:pt x="324655" y="214136"/>
                  <a:pt x="326534" y="212797"/>
                  <a:pt x="328229" y="211355"/>
                </a:cubicBezTo>
                <a:cubicBezTo>
                  <a:pt x="340097" y="201263"/>
                  <a:pt x="342986" y="186138"/>
                  <a:pt x="342547" y="163248"/>
                </a:cubicBezTo>
                <a:cubicBezTo>
                  <a:pt x="342547" y="130228"/>
                  <a:pt x="358265" y="100880"/>
                  <a:pt x="382868" y="82592"/>
                </a:cubicBezTo>
                <a:close/>
                <a:moveTo>
                  <a:pt x="506339" y="97830"/>
                </a:moveTo>
                <a:cubicBezTo>
                  <a:pt x="490327" y="82509"/>
                  <a:pt x="468581" y="73244"/>
                  <a:pt x="444670" y="73244"/>
                </a:cubicBezTo>
                <a:cubicBezTo>
                  <a:pt x="394651" y="73244"/>
                  <a:pt x="354103" y="113792"/>
                  <a:pt x="354103" y="163811"/>
                </a:cubicBezTo>
                <a:cubicBezTo>
                  <a:pt x="354470" y="182914"/>
                  <a:pt x="349220" y="207099"/>
                  <a:pt x="336023" y="219944"/>
                </a:cubicBezTo>
                <a:cubicBezTo>
                  <a:pt x="346519" y="224314"/>
                  <a:pt x="356263" y="230867"/>
                  <a:pt x="364783" y="239386"/>
                </a:cubicBezTo>
                <a:close/>
                <a:moveTo>
                  <a:pt x="530971" y="159544"/>
                </a:moveTo>
                <a:cubicBezTo>
                  <a:pt x="530971" y="135634"/>
                  <a:pt x="521705" y="113887"/>
                  <a:pt x="506384" y="97876"/>
                </a:cubicBezTo>
                <a:lnTo>
                  <a:pt x="364828" y="239431"/>
                </a:lnTo>
                <a:cubicBezTo>
                  <a:pt x="373348" y="247952"/>
                  <a:pt x="379901" y="257695"/>
                  <a:pt x="384270" y="268192"/>
                </a:cubicBezTo>
                <a:cubicBezTo>
                  <a:pt x="397115" y="254994"/>
                  <a:pt x="421300" y="249745"/>
                  <a:pt x="440404" y="250111"/>
                </a:cubicBezTo>
                <a:cubicBezTo>
                  <a:pt x="465413" y="250112"/>
                  <a:pt x="488055" y="239974"/>
                  <a:pt x="504444" y="223585"/>
                </a:cubicBezTo>
                <a:cubicBezTo>
                  <a:pt x="520834" y="207196"/>
                  <a:pt x="530971" y="184554"/>
                  <a:pt x="530971" y="159544"/>
                </a:cubicBezTo>
                <a:close/>
                <a:moveTo>
                  <a:pt x="595781" y="268215"/>
                </a:moveTo>
                <a:lnTo>
                  <a:pt x="581969" y="268215"/>
                </a:lnTo>
                <a:cubicBezTo>
                  <a:pt x="578743" y="259654"/>
                  <a:pt x="573266" y="252074"/>
                  <a:pt x="566492" y="245300"/>
                </a:cubicBezTo>
                <a:cubicBezTo>
                  <a:pt x="553737" y="232545"/>
                  <a:pt x="538123" y="224389"/>
                  <a:pt x="521623" y="221347"/>
                </a:cubicBezTo>
                <a:cubicBezTo>
                  <a:pt x="519174" y="225205"/>
                  <a:pt x="516174" y="228633"/>
                  <a:pt x="512960" y="231847"/>
                </a:cubicBezTo>
                <a:cubicBezTo>
                  <a:pt x="494535" y="250272"/>
                  <a:pt x="469082" y="261667"/>
                  <a:pt x="440967" y="261667"/>
                </a:cubicBezTo>
                <a:cubicBezTo>
                  <a:pt x="425629" y="261373"/>
                  <a:pt x="413777" y="262574"/>
                  <a:pt x="405186" y="268215"/>
                </a:cubicBezTo>
                <a:lnTo>
                  <a:pt x="372038" y="268215"/>
                </a:lnTo>
                <a:cubicBezTo>
                  <a:pt x="369178" y="260078"/>
                  <a:pt x="364042" y="252948"/>
                  <a:pt x="357679" y="246581"/>
                </a:cubicBezTo>
                <a:lnTo>
                  <a:pt x="349451" y="254808"/>
                </a:lnTo>
                <a:lnTo>
                  <a:pt x="349428" y="254786"/>
                </a:lnTo>
                <a:cubicBezTo>
                  <a:pt x="349421" y="254779"/>
                  <a:pt x="349413" y="254771"/>
                  <a:pt x="349406" y="254763"/>
                </a:cubicBezTo>
                <a:lnTo>
                  <a:pt x="357634" y="246536"/>
                </a:lnTo>
                <a:cubicBezTo>
                  <a:pt x="324632" y="213554"/>
                  <a:pt x="271148" y="213554"/>
                  <a:pt x="238146" y="246536"/>
                </a:cubicBezTo>
                <a:lnTo>
                  <a:pt x="246374" y="254763"/>
                </a:lnTo>
                <a:cubicBezTo>
                  <a:pt x="246367" y="254771"/>
                  <a:pt x="246359" y="254779"/>
                  <a:pt x="246352" y="254786"/>
                </a:cubicBezTo>
                <a:cubicBezTo>
                  <a:pt x="246344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69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8" y="221373"/>
                </a:cubicBezTo>
                <a:cubicBezTo>
                  <a:pt x="57671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89" y="195895"/>
                  <a:pt x="53000" y="178457"/>
                  <a:pt x="53000" y="159854"/>
                </a:cubicBezTo>
                <a:cubicBezTo>
                  <a:pt x="53000" y="132604"/>
                  <a:pt x="63705" y="107854"/>
                  <a:pt x="81286" y="89721"/>
                </a:cubicBezTo>
                <a:lnTo>
                  <a:pt x="81286" y="89721"/>
                </a:ln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30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lnTo>
                  <a:pt x="297890" y="0"/>
                </a:lnTo>
                <a:cubicBezTo>
                  <a:pt x="323144" y="391"/>
                  <a:pt x="348215" y="10322"/>
                  <a:pt x="367484" y="29591"/>
                </a:cubicBezTo>
                <a:cubicBezTo>
                  <a:pt x="380644" y="42751"/>
                  <a:pt x="389448" y="58618"/>
                  <a:pt x="393604" y="75474"/>
                </a:cubicBezTo>
                <a:cubicBezTo>
                  <a:pt x="408376" y="66408"/>
                  <a:pt x="425787" y="61434"/>
                  <a:pt x="444360" y="61434"/>
                </a:cubicBezTo>
                <a:cubicBezTo>
                  <a:pt x="471610" y="61434"/>
                  <a:pt x="496360" y="72140"/>
                  <a:pt x="514494" y="89721"/>
                </a:cubicBezTo>
                <a:cubicBezTo>
                  <a:pt x="532075" y="107854"/>
                  <a:pt x="542780" y="132604"/>
                  <a:pt x="542780" y="159854"/>
                </a:cubicBezTo>
                <a:cubicBezTo>
                  <a:pt x="542780" y="178427"/>
                  <a:pt x="537807" y="195839"/>
                  <a:pt x="528740" y="210610"/>
                </a:cubicBezTo>
                <a:cubicBezTo>
                  <a:pt x="545596" y="214766"/>
                  <a:pt x="561463" y="223570"/>
                  <a:pt x="574624" y="236731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99" name="Oval 698"/>
          <p:cNvSpPr/>
          <p:nvPr/>
        </p:nvSpPr>
        <p:spPr>
          <a:xfrm>
            <a:off x="531499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00" name="Oval 699"/>
          <p:cNvSpPr/>
          <p:nvPr/>
        </p:nvSpPr>
        <p:spPr>
          <a:xfrm>
            <a:off x="25975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01" name="Oval 700"/>
          <p:cNvSpPr/>
          <p:nvPr/>
        </p:nvSpPr>
        <p:spPr>
          <a:xfrm>
            <a:off x="89165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02" name="Oval 701"/>
          <p:cNvSpPr/>
          <p:nvPr/>
        </p:nvSpPr>
        <p:spPr>
          <a:xfrm>
            <a:off x="152356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03" name="Oval 702"/>
          <p:cNvSpPr/>
          <p:nvPr/>
        </p:nvSpPr>
        <p:spPr>
          <a:xfrm>
            <a:off x="215546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04" name="Oval 703"/>
          <p:cNvSpPr/>
          <p:nvPr/>
        </p:nvSpPr>
        <p:spPr>
          <a:xfrm>
            <a:off x="278737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05" name="Oval 704"/>
          <p:cNvSpPr/>
          <p:nvPr/>
        </p:nvSpPr>
        <p:spPr>
          <a:xfrm>
            <a:off x="341927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06" name="Oval 705"/>
          <p:cNvSpPr/>
          <p:nvPr/>
        </p:nvSpPr>
        <p:spPr>
          <a:xfrm>
            <a:off x="405118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07" name="Oval 706"/>
          <p:cNvSpPr/>
          <p:nvPr/>
        </p:nvSpPr>
        <p:spPr>
          <a:xfrm>
            <a:off x="468308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08" name="Oval 707"/>
          <p:cNvSpPr/>
          <p:nvPr/>
        </p:nvSpPr>
        <p:spPr>
          <a:xfrm>
            <a:off x="657880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09" name="Oval 708"/>
          <p:cNvSpPr/>
          <p:nvPr/>
        </p:nvSpPr>
        <p:spPr>
          <a:xfrm>
            <a:off x="594689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10" name="Oval 709"/>
          <p:cNvSpPr/>
          <p:nvPr/>
        </p:nvSpPr>
        <p:spPr>
          <a:xfrm>
            <a:off x="7842610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11" name="Oval 710"/>
          <p:cNvSpPr/>
          <p:nvPr/>
        </p:nvSpPr>
        <p:spPr>
          <a:xfrm>
            <a:off x="721070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12" name="Oval 711"/>
          <p:cNvSpPr/>
          <p:nvPr/>
        </p:nvSpPr>
        <p:spPr>
          <a:xfrm>
            <a:off x="8474515" y="119738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13" name="Teardrop 3"/>
          <p:cNvSpPr/>
          <p:nvPr/>
        </p:nvSpPr>
        <p:spPr>
          <a:xfrm rot="5400000" flipH="1" flipV="1">
            <a:off x="483207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14" name="Teardrop 3"/>
          <p:cNvSpPr/>
          <p:nvPr/>
        </p:nvSpPr>
        <p:spPr>
          <a:xfrm rot="5400000" flipH="1" flipV="1">
            <a:off x="-111581" y="1459808"/>
            <a:ext cx="459486" cy="236325"/>
          </a:xfrm>
          <a:custGeom>
            <a:avLst/>
            <a:gdLst/>
            <a:ahLst/>
            <a:cxnLst/>
            <a:rect l="l" t="t" r="r" b="b"/>
            <a:pathLst>
              <a:path w="612648" h="315100">
                <a:moveTo>
                  <a:pt x="239386" y="75670"/>
                </a:moveTo>
                <a:cubicBezTo>
                  <a:pt x="230866" y="67149"/>
                  <a:pt x="224313" y="57406"/>
                  <a:pt x="219944" y="46909"/>
                </a:cubicBezTo>
                <a:cubicBezTo>
                  <a:pt x="207099" y="60107"/>
                  <a:pt x="182914" y="65356"/>
                  <a:pt x="163810" y="64989"/>
                </a:cubicBezTo>
                <a:cubicBezTo>
                  <a:pt x="113792" y="64989"/>
                  <a:pt x="73243" y="105538"/>
                  <a:pt x="73243" y="155556"/>
                </a:cubicBezTo>
                <a:cubicBezTo>
                  <a:pt x="73243" y="179467"/>
                  <a:pt x="82509" y="201213"/>
                  <a:pt x="97830" y="217225"/>
                </a:cubicBezTo>
                <a:close/>
                <a:moveTo>
                  <a:pt x="268191" y="95157"/>
                </a:moveTo>
                <a:cubicBezTo>
                  <a:pt x="257695" y="90787"/>
                  <a:pt x="247952" y="84234"/>
                  <a:pt x="239431" y="75715"/>
                </a:cubicBezTo>
                <a:lnTo>
                  <a:pt x="97875" y="217270"/>
                </a:lnTo>
                <a:cubicBezTo>
                  <a:pt x="113887" y="232591"/>
                  <a:pt x="135634" y="241857"/>
                  <a:pt x="159544" y="241857"/>
                </a:cubicBezTo>
                <a:cubicBezTo>
                  <a:pt x="184553" y="241857"/>
                  <a:pt x="207195" y="231720"/>
                  <a:pt x="223585" y="215331"/>
                </a:cubicBezTo>
                <a:cubicBezTo>
                  <a:pt x="239974" y="198941"/>
                  <a:pt x="250111" y="176299"/>
                  <a:pt x="250111" y="151290"/>
                </a:cubicBezTo>
                <a:cubicBezTo>
                  <a:pt x="249745" y="132187"/>
                  <a:pt x="254994" y="108002"/>
                  <a:pt x="268191" y="95157"/>
                </a:cubicBezTo>
                <a:close/>
                <a:moveTo>
                  <a:pt x="391275" y="232488"/>
                </a:moveTo>
                <a:cubicBezTo>
                  <a:pt x="366688" y="214199"/>
                  <a:pt x="350981" y="184860"/>
                  <a:pt x="350981" y="151853"/>
                </a:cubicBezTo>
                <a:cubicBezTo>
                  <a:pt x="351479" y="125869"/>
                  <a:pt x="347689" y="109892"/>
                  <a:pt x="331337" y="99934"/>
                </a:cubicBezTo>
                <a:cubicBezTo>
                  <a:pt x="315088" y="104415"/>
                  <a:pt x="297874" y="104335"/>
                  <a:pt x="281637" y="99721"/>
                </a:cubicBezTo>
                <a:cubicBezTo>
                  <a:pt x="265010" y="109675"/>
                  <a:pt x="261165" y="125694"/>
                  <a:pt x="261667" y="151853"/>
                </a:cubicBezTo>
                <a:cubicBezTo>
                  <a:pt x="261667" y="179968"/>
                  <a:pt x="250271" y="205421"/>
                  <a:pt x="231847" y="223846"/>
                </a:cubicBezTo>
                <a:lnTo>
                  <a:pt x="221347" y="232509"/>
                </a:lnTo>
                <a:cubicBezTo>
                  <a:pt x="224390" y="249009"/>
                  <a:pt x="232545" y="264623"/>
                  <a:pt x="245300" y="277378"/>
                </a:cubicBezTo>
                <a:cubicBezTo>
                  <a:pt x="262208" y="294285"/>
                  <a:pt x="284137" y="303111"/>
                  <a:pt x="306292" y="303599"/>
                </a:cubicBezTo>
                <a:lnTo>
                  <a:pt x="306292" y="218433"/>
                </a:lnTo>
                <a:lnTo>
                  <a:pt x="306356" y="218433"/>
                </a:lnTo>
                <a:lnTo>
                  <a:pt x="306356" y="303599"/>
                </a:lnTo>
                <a:cubicBezTo>
                  <a:pt x="328512" y="303110"/>
                  <a:pt x="350441" y="294285"/>
                  <a:pt x="367348" y="277378"/>
                </a:cubicBezTo>
                <a:cubicBezTo>
                  <a:pt x="380109" y="264617"/>
                  <a:pt x="388266" y="248996"/>
                  <a:pt x="391275" y="232488"/>
                </a:cubicBezTo>
                <a:close/>
                <a:moveTo>
                  <a:pt x="514773" y="217271"/>
                </a:moveTo>
                <a:lnTo>
                  <a:pt x="373218" y="75716"/>
                </a:lnTo>
                <a:cubicBezTo>
                  <a:pt x="364700" y="84231"/>
                  <a:pt x="354962" y="90781"/>
                  <a:pt x="344508" y="95209"/>
                </a:cubicBezTo>
                <a:cubicBezTo>
                  <a:pt x="357668" y="108066"/>
                  <a:pt x="362903" y="132212"/>
                  <a:pt x="362537" y="151290"/>
                </a:cubicBezTo>
                <a:cubicBezTo>
                  <a:pt x="362537" y="201309"/>
                  <a:pt x="403085" y="241857"/>
                  <a:pt x="453104" y="241857"/>
                </a:cubicBezTo>
                <a:cubicBezTo>
                  <a:pt x="477015" y="241857"/>
                  <a:pt x="498761" y="232592"/>
                  <a:pt x="514773" y="217271"/>
                </a:cubicBezTo>
                <a:close/>
                <a:moveTo>
                  <a:pt x="539405" y="155556"/>
                </a:moveTo>
                <a:cubicBezTo>
                  <a:pt x="539405" y="105538"/>
                  <a:pt x="498856" y="64989"/>
                  <a:pt x="448838" y="64989"/>
                </a:cubicBezTo>
                <a:cubicBezTo>
                  <a:pt x="429760" y="65355"/>
                  <a:pt x="405614" y="60121"/>
                  <a:pt x="392756" y="46961"/>
                </a:cubicBezTo>
                <a:cubicBezTo>
                  <a:pt x="388329" y="57415"/>
                  <a:pt x="381778" y="67153"/>
                  <a:pt x="373263" y="75671"/>
                </a:cubicBezTo>
                <a:lnTo>
                  <a:pt x="514818" y="217225"/>
                </a:lnTo>
                <a:cubicBezTo>
                  <a:pt x="530139" y="201213"/>
                  <a:pt x="539405" y="179467"/>
                  <a:pt x="539405" y="155556"/>
                </a:cubicBezTo>
                <a:close/>
                <a:moveTo>
                  <a:pt x="612648" y="8776"/>
                </a:moveTo>
                <a:cubicBezTo>
                  <a:pt x="612257" y="34030"/>
                  <a:pt x="602326" y="59101"/>
                  <a:pt x="583058" y="78369"/>
                </a:cubicBezTo>
                <a:cubicBezTo>
                  <a:pt x="569890" y="91537"/>
                  <a:pt x="554014" y="100343"/>
                  <a:pt x="537134" y="104416"/>
                </a:cubicBezTo>
                <a:cubicBezTo>
                  <a:pt x="546224" y="119205"/>
                  <a:pt x="551214" y="136643"/>
                  <a:pt x="551214" y="155247"/>
                </a:cubicBezTo>
                <a:cubicBezTo>
                  <a:pt x="551214" y="182497"/>
                  <a:pt x="540509" y="207247"/>
                  <a:pt x="522928" y="225380"/>
                </a:cubicBezTo>
                <a:lnTo>
                  <a:pt x="522928" y="225380"/>
                </a:lnTo>
                <a:cubicBezTo>
                  <a:pt x="504794" y="242961"/>
                  <a:pt x="480044" y="253667"/>
                  <a:pt x="452794" y="253667"/>
                </a:cubicBezTo>
                <a:cubicBezTo>
                  <a:pt x="434191" y="253667"/>
                  <a:pt x="416753" y="248677"/>
                  <a:pt x="401964" y="239586"/>
                </a:cubicBezTo>
                <a:cubicBezTo>
                  <a:pt x="397891" y="256466"/>
                  <a:pt x="389084" y="272342"/>
                  <a:pt x="375917" y="285509"/>
                </a:cubicBezTo>
                <a:cubicBezTo>
                  <a:pt x="356649" y="304778"/>
                  <a:pt x="331578" y="314709"/>
                  <a:pt x="306324" y="315100"/>
                </a:cubicBezTo>
                <a:lnTo>
                  <a:pt x="306324" y="315100"/>
                </a:lnTo>
                <a:cubicBezTo>
                  <a:pt x="281070" y="314709"/>
                  <a:pt x="255999" y="304778"/>
                  <a:pt x="236731" y="285509"/>
                </a:cubicBezTo>
                <a:cubicBezTo>
                  <a:pt x="223571" y="272349"/>
                  <a:pt x="214766" y="256482"/>
                  <a:pt x="210610" y="239626"/>
                </a:cubicBezTo>
                <a:cubicBezTo>
                  <a:pt x="195839" y="248693"/>
                  <a:pt x="178427" y="253666"/>
                  <a:pt x="159854" y="253666"/>
                </a:cubicBezTo>
                <a:cubicBezTo>
                  <a:pt x="132604" y="253666"/>
                  <a:pt x="107854" y="242961"/>
                  <a:pt x="89720" y="225380"/>
                </a:cubicBezTo>
                <a:lnTo>
                  <a:pt x="89720" y="225380"/>
                </a:lnTo>
                <a:cubicBezTo>
                  <a:pt x="72140" y="207247"/>
                  <a:pt x="61434" y="182497"/>
                  <a:pt x="61434" y="155247"/>
                </a:cubicBezTo>
                <a:cubicBezTo>
                  <a:pt x="61434" y="136673"/>
                  <a:pt x="66408" y="119262"/>
                  <a:pt x="75474" y="104490"/>
                </a:cubicBezTo>
                <a:cubicBezTo>
                  <a:pt x="58618" y="100334"/>
                  <a:pt x="42751" y="91530"/>
                  <a:pt x="29591" y="78369"/>
                </a:cubicBezTo>
                <a:cubicBezTo>
                  <a:pt x="10322" y="59101"/>
                  <a:pt x="391" y="34030"/>
                  <a:pt x="0" y="8776"/>
                </a:cubicBezTo>
                <a:lnTo>
                  <a:pt x="0" y="8776"/>
                </a:lnTo>
                <a:lnTo>
                  <a:pt x="1828" y="0"/>
                </a:lnTo>
                <a:lnTo>
                  <a:pt x="13374" y="0"/>
                </a:lnTo>
                <a:cubicBezTo>
                  <a:pt x="11782" y="2802"/>
                  <a:pt x="11567" y="5771"/>
                  <a:pt x="11501" y="8744"/>
                </a:cubicBezTo>
                <a:lnTo>
                  <a:pt x="96667" y="8744"/>
                </a:lnTo>
                <a:lnTo>
                  <a:pt x="96667" y="8808"/>
                </a:lnTo>
                <a:lnTo>
                  <a:pt x="11501" y="8808"/>
                </a:lnTo>
                <a:cubicBezTo>
                  <a:pt x="11990" y="30964"/>
                  <a:pt x="20815" y="52893"/>
                  <a:pt x="37722" y="69800"/>
                </a:cubicBezTo>
                <a:cubicBezTo>
                  <a:pt x="50477" y="82555"/>
                  <a:pt x="66091" y="90711"/>
                  <a:pt x="82592" y="93753"/>
                </a:cubicBezTo>
                <a:cubicBezTo>
                  <a:pt x="100880" y="69151"/>
                  <a:pt x="130228" y="53433"/>
                  <a:pt x="163247" y="53433"/>
                </a:cubicBezTo>
                <a:cubicBezTo>
                  <a:pt x="186137" y="53872"/>
                  <a:pt x="201262" y="50984"/>
                  <a:pt x="211355" y="39116"/>
                </a:cubicBezTo>
                <a:cubicBezTo>
                  <a:pt x="212796" y="37420"/>
                  <a:pt x="214135" y="35542"/>
                  <a:pt x="215380" y="33463"/>
                </a:cubicBezTo>
                <a:lnTo>
                  <a:pt x="215236" y="0"/>
                </a:lnTo>
                <a:lnTo>
                  <a:pt x="223507" y="0"/>
                </a:lnTo>
                <a:cubicBezTo>
                  <a:pt x="219688" y="24354"/>
                  <a:pt x="227777" y="49750"/>
                  <a:pt x="246535" y="68520"/>
                </a:cubicBezTo>
                <a:lnTo>
                  <a:pt x="254763" y="60293"/>
                </a:lnTo>
                <a:cubicBezTo>
                  <a:pt x="254771" y="60299"/>
                  <a:pt x="254778" y="60307"/>
                  <a:pt x="254786" y="60315"/>
                </a:cubicBezTo>
                <a:lnTo>
                  <a:pt x="254808" y="60338"/>
                </a:lnTo>
                <a:lnTo>
                  <a:pt x="246580" y="68565"/>
                </a:lnTo>
                <a:cubicBezTo>
                  <a:pt x="279582" y="101547"/>
                  <a:pt x="333066" y="101547"/>
                  <a:pt x="366068" y="68565"/>
                </a:cubicBezTo>
                <a:lnTo>
                  <a:pt x="357840" y="60338"/>
                </a:lnTo>
                <a:cubicBezTo>
                  <a:pt x="357847" y="60330"/>
                  <a:pt x="357855" y="60322"/>
                  <a:pt x="357862" y="60315"/>
                </a:cubicBezTo>
                <a:lnTo>
                  <a:pt x="357885" y="60293"/>
                </a:lnTo>
                <a:lnTo>
                  <a:pt x="366113" y="68520"/>
                </a:lnTo>
                <a:cubicBezTo>
                  <a:pt x="384871" y="49750"/>
                  <a:pt x="392961" y="24354"/>
                  <a:pt x="389142" y="0"/>
                </a:cubicBezTo>
                <a:lnTo>
                  <a:pt x="397337" y="0"/>
                </a:lnTo>
                <a:cubicBezTo>
                  <a:pt x="401479" y="11094"/>
                  <a:pt x="400548" y="22668"/>
                  <a:pt x="397481" y="33790"/>
                </a:cubicBezTo>
                <a:cubicBezTo>
                  <a:pt x="407439" y="50142"/>
                  <a:pt x="423417" y="53932"/>
                  <a:pt x="449401" y="53433"/>
                </a:cubicBezTo>
                <a:cubicBezTo>
                  <a:pt x="482407" y="53434"/>
                  <a:pt x="511746" y="69140"/>
                  <a:pt x="530035" y="93727"/>
                </a:cubicBezTo>
                <a:cubicBezTo>
                  <a:pt x="546543" y="90718"/>
                  <a:pt x="562165" y="82561"/>
                  <a:pt x="574926" y="69800"/>
                </a:cubicBezTo>
                <a:cubicBezTo>
                  <a:pt x="591833" y="52893"/>
                  <a:pt x="600659" y="30964"/>
                  <a:pt x="601147" y="8808"/>
                </a:cubicBezTo>
                <a:lnTo>
                  <a:pt x="515982" y="8808"/>
                </a:lnTo>
                <a:lnTo>
                  <a:pt x="515981" y="8744"/>
                </a:lnTo>
                <a:lnTo>
                  <a:pt x="601147" y="8744"/>
                </a:lnTo>
                <a:lnTo>
                  <a:pt x="599274" y="0"/>
                </a:lnTo>
                <a:lnTo>
                  <a:pt x="610820" y="0"/>
                </a:lnTo>
                <a:cubicBezTo>
                  <a:pt x="612423" y="2826"/>
                  <a:pt x="612602" y="5800"/>
                  <a:pt x="612648" y="877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15" name="Teardrop 3"/>
          <p:cNvSpPr/>
          <p:nvPr/>
        </p:nvSpPr>
        <p:spPr>
          <a:xfrm rot="5400000" flipH="1" flipV="1">
            <a:off x="104064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16" name="Teardrop 3"/>
          <p:cNvSpPr/>
          <p:nvPr/>
        </p:nvSpPr>
        <p:spPr>
          <a:xfrm rot="5400000" flipH="1" flipV="1">
            <a:off x="167255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17" name="Teardrop 3"/>
          <p:cNvSpPr/>
          <p:nvPr/>
        </p:nvSpPr>
        <p:spPr>
          <a:xfrm rot="5400000" flipH="1" flipV="1">
            <a:off x="230445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18" name="Teardrop 3"/>
          <p:cNvSpPr/>
          <p:nvPr/>
        </p:nvSpPr>
        <p:spPr>
          <a:xfrm rot="5400000" flipH="1" flipV="1">
            <a:off x="293636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19" name="Teardrop 3"/>
          <p:cNvSpPr/>
          <p:nvPr/>
        </p:nvSpPr>
        <p:spPr>
          <a:xfrm rot="5400000" flipH="1" flipV="1">
            <a:off x="356826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20" name="Teardrop 3"/>
          <p:cNvSpPr/>
          <p:nvPr/>
        </p:nvSpPr>
        <p:spPr>
          <a:xfrm rot="5400000" flipH="1" flipV="1">
            <a:off x="420017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21" name="Teardrop 3"/>
          <p:cNvSpPr/>
          <p:nvPr/>
        </p:nvSpPr>
        <p:spPr>
          <a:xfrm rot="5400000" flipH="1" flipV="1">
            <a:off x="609588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22" name="Teardrop 3"/>
          <p:cNvSpPr/>
          <p:nvPr/>
        </p:nvSpPr>
        <p:spPr>
          <a:xfrm rot="5400000" flipH="1" flipV="1">
            <a:off x="546398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23" name="Teardrop 3"/>
          <p:cNvSpPr/>
          <p:nvPr/>
        </p:nvSpPr>
        <p:spPr>
          <a:xfrm rot="5400000" flipH="1" flipV="1">
            <a:off x="7359699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24" name="Teardrop 3"/>
          <p:cNvSpPr/>
          <p:nvPr/>
        </p:nvSpPr>
        <p:spPr>
          <a:xfrm rot="5400000" flipH="1" flipV="1">
            <a:off x="672779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25" name="Teardrop 3"/>
          <p:cNvSpPr/>
          <p:nvPr/>
        </p:nvSpPr>
        <p:spPr>
          <a:xfrm rot="5400000" flipH="1" flipV="1">
            <a:off x="8623508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26" name="Teardrop 3"/>
          <p:cNvSpPr/>
          <p:nvPr/>
        </p:nvSpPr>
        <p:spPr>
          <a:xfrm rot="5400000" flipH="1" flipV="1">
            <a:off x="799160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27" name="Teardrop 3"/>
          <p:cNvSpPr/>
          <p:nvPr/>
        </p:nvSpPr>
        <p:spPr>
          <a:xfrm rot="5400000" flipH="1" flipV="1">
            <a:off x="408744" y="1348227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28" name="Oval 727"/>
          <p:cNvSpPr/>
          <p:nvPr/>
        </p:nvSpPr>
        <p:spPr>
          <a:xfrm>
            <a:off x="499838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29" name="Oval 728"/>
          <p:cNvSpPr/>
          <p:nvPr/>
        </p:nvSpPr>
        <p:spPr>
          <a:xfrm>
            <a:off x="57504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30" name="Oval 729"/>
          <p:cNvSpPr/>
          <p:nvPr/>
        </p:nvSpPr>
        <p:spPr>
          <a:xfrm>
            <a:off x="120695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31" name="Oval 730"/>
          <p:cNvSpPr/>
          <p:nvPr/>
        </p:nvSpPr>
        <p:spPr>
          <a:xfrm>
            <a:off x="183885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32" name="Oval 731"/>
          <p:cNvSpPr/>
          <p:nvPr/>
        </p:nvSpPr>
        <p:spPr>
          <a:xfrm>
            <a:off x="247076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33" name="Oval 732"/>
          <p:cNvSpPr/>
          <p:nvPr/>
        </p:nvSpPr>
        <p:spPr>
          <a:xfrm>
            <a:off x="310266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34" name="Oval 733"/>
          <p:cNvSpPr/>
          <p:nvPr/>
        </p:nvSpPr>
        <p:spPr>
          <a:xfrm>
            <a:off x="373457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35" name="Oval 734"/>
          <p:cNvSpPr/>
          <p:nvPr/>
        </p:nvSpPr>
        <p:spPr>
          <a:xfrm>
            <a:off x="436647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36" name="Oval 735"/>
          <p:cNvSpPr/>
          <p:nvPr/>
        </p:nvSpPr>
        <p:spPr>
          <a:xfrm>
            <a:off x="626219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37" name="Oval 736"/>
          <p:cNvSpPr/>
          <p:nvPr/>
        </p:nvSpPr>
        <p:spPr>
          <a:xfrm>
            <a:off x="563028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38" name="Oval 737"/>
          <p:cNvSpPr/>
          <p:nvPr/>
        </p:nvSpPr>
        <p:spPr>
          <a:xfrm>
            <a:off x="7526004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39" name="Oval 738"/>
          <p:cNvSpPr/>
          <p:nvPr/>
        </p:nvSpPr>
        <p:spPr>
          <a:xfrm>
            <a:off x="689409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0" name="Oval 739"/>
          <p:cNvSpPr/>
          <p:nvPr/>
        </p:nvSpPr>
        <p:spPr>
          <a:xfrm>
            <a:off x="8789813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1" name="Oval 740"/>
          <p:cNvSpPr/>
          <p:nvPr/>
        </p:nvSpPr>
        <p:spPr>
          <a:xfrm>
            <a:off x="8157909" y="1514845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2" name="Teardrop 3"/>
          <p:cNvSpPr/>
          <p:nvPr/>
        </p:nvSpPr>
        <p:spPr>
          <a:xfrm rot="5400000" flipH="1" flipV="1">
            <a:off x="4515886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3" name="Teardrop 3"/>
          <p:cNvSpPr/>
          <p:nvPr/>
        </p:nvSpPr>
        <p:spPr>
          <a:xfrm rot="5400000" flipH="1" flipV="1">
            <a:off x="724457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4" name="Teardrop 3"/>
          <p:cNvSpPr/>
          <p:nvPr/>
        </p:nvSpPr>
        <p:spPr>
          <a:xfrm rot="5400000" flipH="1" flipV="1">
            <a:off x="135636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5" name="Teardrop 3"/>
          <p:cNvSpPr/>
          <p:nvPr/>
        </p:nvSpPr>
        <p:spPr>
          <a:xfrm rot="5400000" flipH="1" flipV="1">
            <a:off x="1988267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6" name="Teardrop 3"/>
          <p:cNvSpPr/>
          <p:nvPr/>
        </p:nvSpPr>
        <p:spPr>
          <a:xfrm rot="5400000" flipH="1" flipV="1">
            <a:off x="262017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7" name="Teardrop 3"/>
          <p:cNvSpPr/>
          <p:nvPr/>
        </p:nvSpPr>
        <p:spPr>
          <a:xfrm rot="5400000" flipH="1" flipV="1">
            <a:off x="3252077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8" name="Teardrop 3"/>
          <p:cNvSpPr/>
          <p:nvPr/>
        </p:nvSpPr>
        <p:spPr>
          <a:xfrm rot="5400000" flipH="1" flipV="1">
            <a:off x="388398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9" name="Teardrop 3"/>
          <p:cNvSpPr/>
          <p:nvPr/>
        </p:nvSpPr>
        <p:spPr>
          <a:xfrm rot="5400000" flipH="1" flipV="1">
            <a:off x="5779697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50" name="Teardrop 3"/>
          <p:cNvSpPr/>
          <p:nvPr/>
        </p:nvSpPr>
        <p:spPr>
          <a:xfrm rot="5400000" flipH="1" flipV="1">
            <a:off x="514779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51" name="Teardrop 3"/>
          <p:cNvSpPr/>
          <p:nvPr/>
        </p:nvSpPr>
        <p:spPr>
          <a:xfrm rot="5400000" flipH="1" flipV="1">
            <a:off x="7043507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52" name="Teardrop 3"/>
          <p:cNvSpPr/>
          <p:nvPr/>
        </p:nvSpPr>
        <p:spPr>
          <a:xfrm rot="5400000" flipH="1" flipV="1">
            <a:off x="641160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53" name="Teardrop 3"/>
          <p:cNvSpPr/>
          <p:nvPr/>
        </p:nvSpPr>
        <p:spPr>
          <a:xfrm rot="5400000" flipH="1" flipV="1">
            <a:off x="8307316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54" name="Teardrop 3"/>
          <p:cNvSpPr/>
          <p:nvPr/>
        </p:nvSpPr>
        <p:spPr>
          <a:xfrm rot="5400000" flipH="1" flipV="1">
            <a:off x="767541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55" name="Teardrop 3"/>
          <p:cNvSpPr/>
          <p:nvPr/>
        </p:nvSpPr>
        <p:spPr>
          <a:xfrm rot="5400000" flipH="1" flipV="1">
            <a:off x="92552" y="1663743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56" name="Teardrop 3"/>
          <p:cNvSpPr/>
          <p:nvPr/>
        </p:nvSpPr>
        <p:spPr>
          <a:xfrm rot="5400000" flipH="1" flipV="1">
            <a:off x="8820002" y="1780255"/>
            <a:ext cx="446835" cy="201161"/>
          </a:xfrm>
          <a:custGeom>
            <a:avLst/>
            <a:gdLst/>
            <a:ahLst/>
            <a:cxnLst/>
            <a:rect l="l" t="t" r="r" b="b"/>
            <a:pathLst>
              <a:path w="595780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7" y="250112"/>
                  <a:pt x="155376" y="250112"/>
                </a:cubicBezTo>
                <a:cubicBezTo>
                  <a:pt x="174454" y="249746"/>
                  <a:pt x="198601" y="254980"/>
                  <a:pt x="211458" y="268141"/>
                </a:cubicBezTo>
                <a:cubicBezTo>
                  <a:pt x="215885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382868" y="82592"/>
                </a:moveTo>
                <a:cubicBezTo>
                  <a:pt x="379825" y="66091"/>
                  <a:pt x="371670" y="50477"/>
                  <a:pt x="358914" y="37722"/>
                </a:cubicBezTo>
                <a:cubicBezTo>
                  <a:pt x="342007" y="20815"/>
                  <a:pt x="320078" y="11989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4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6" y="100902"/>
                  <a:pt x="253233" y="130241"/>
                  <a:pt x="253233" y="163248"/>
                </a:cubicBezTo>
                <a:cubicBezTo>
                  <a:pt x="252735" y="189232"/>
                  <a:pt x="256525" y="205210"/>
                  <a:pt x="272877" y="215167"/>
                </a:cubicBezTo>
                <a:cubicBezTo>
                  <a:pt x="289126" y="210687"/>
                  <a:pt x="306340" y="210767"/>
                  <a:pt x="322577" y="215380"/>
                </a:cubicBezTo>
                <a:cubicBezTo>
                  <a:pt x="324655" y="214136"/>
                  <a:pt x="326534" y="212797"/>
                  <a:pt x="328229" y="211355"/>
                </a:cubicBezTo>
                <a:cubicBezTo>
                  <a:pt x="340097" y="201263"/>
                  <a:pt x="342986" y="186138"/>
                  <a:pt x="342547" y="163248"/>
                </a:cubicBezTo>
                <a:cubicBezTo>
                  <a:pt x="342547" y="130228"/>
                  <a:pt x="358265" y="100880"/>
                  <a:pt x="382868" y="82592"/>
                </a:cubicBezTo>
                <a:close/>
                <a:moveTo>
                  <a:pt x="506339" y="97830"/>
                </a:moveTo>
                <a:cubicBezTo>
                  <a:pt x="490327" y="82509"/>
                  <a:pt x="468581" y="73244"/>
                  <a:pt x="444670" y="73244"/>
                </a:cubicBezTo>
                <a:cubicBezTo>
                  <a:pt x="394652" y="73244"/>
                  <a:pt x="354103" y="113792"/>
                  <a:pt x="354103" y="163811"/>
                </a:cubicBezTo>
                <a:cubicBezTo>
                  <a:pt x="354470" y="182914"/>
                  <a:pt x="349220" y="207099"/>
                  <a:pt x="336023" y="219944"/>
                </a:cubicBezTo>
                <a:cubicBezTo>
                  <a:pt x="346519" y="224314"/>
                  <a:pt x="356263" y="230867"/>
                  <a:pt x="364783" y="239386"/>
                </a:cubicBezTo>
                <a:close/>
                <a:moveTo>
                  <a:pt x="530971" y="159544"/>
                </a:moveTo>
                <a:cubicBezTo>
                  <a:pt x="530971" y="135634"/>
                  <a:pt x="521705" y="113887"/>
                  <a:pt x="506384" y="97876"/>
                </a:cubicBezTo>
                <a:lnTo>
                  <a:pt x="364828" y="239431"/>
                </a:lnTo>
                <a:cubicBezTo>
                  <a:pt x="373348" y="247952"/>
                  <a:pt x="379901" y="257695"/>
                  <a:pt x="384270" y="268192"/>
                </a:cubicBezTo>
                <a:cubicBezTo>
                  <a:pt x="397115" y="254994"/>
                  <a:pt x="421300" y="249745"/>
                  <a:pt x="440404" y="250111"/>
                </a:cubicBezTo>
                <a:cubicBezTo>
                  <a:pt x="465413" y="250112"/>
                  <a:pt x="488055" y="239974"/>
                  <a:pt x="504444" y="223585"/>
                </a:cubicBezTo>
                <a:cubicBezTo>
                  <a:pt x="520834" y="207196"/>
                  <a:pt x="530971" y="184554"/>
                  <a:pt x="530971" y="159544"/>
                </a:cubicBezTo>
                <a:close/>
                <a:moveTo>
                  <a:pt x="595780" y="268215"/>
                </a:moveTo>
                <a:lnTo>
                  <a:pt x="581969" y="268215"/>
                </a:lnTo>
                <a:cubicBezTo>
                  <a:pt x="578743" y="259654"/>
                  <a:pt x="573266" y="252074"/>
                  <a:pt x="566492" y="245300"/>
                </a:cubicBezTo>
                <a:cubicBezTo>
                  <a:pt x="553737" y="232545"/>
                  <a:pt x="538123" y="224389"/>
                  <a:pt x="521623" y="221347"/>
                </a:cubicBezTo>
                <a:cubicBezTo>
                  <a:pt x="519174" y="225205"/>
                  <a:pt x="516174" y="228633"/>
                  <a:pt x="512960" y="231847"/>
                </a:cubicBezTo>
                <a:cubicBezTo>
                  <a:pt x="494535" y="250272"/>
                  <a:pt x="469082" y="261667"/>
                  <a:pt x="440967" y="261667"/>
                </a:cubicBezTo>
                <a:cubicBezTo>
                  <a:pt x="425629" y="261373"/>
                  <a:pt x="413777" y="262574"/>
                  <a:pt x="405186" y="268215"/>
                </a:cubicBezTo>
                <a:lnTo>
                  <a:pt x="372038" y="268215"/>
                </a:lnTo>
                <a:cubicBezTo>
                  <a:pt x="369178" y="260078"/>
                  <a:pt x="364042" y="252948"/>
                  <a:pt x="357679" y="246581"/>
                </a:cubicBezTo>
                <a:lnTo>
                  <a:pt x="349451" y="254808"/>
                </a:lnTo>
                <a:lnTo>
                  <a:pt x="349428" y="254786"/>
                </a:lnTo>
                <a:cubicBezTo>
                  <a:pt x="349421" y="254779"/>
                  <a:pt x="349413" y="254771"/>
                  <a:pt x="349406" y="254763"/>
                </a:cubicBezTo>
                <a:lnTo>
                  <a:pt x="357634" y="246536"/>
                </a:lnTo>
                <a:cubicBezTo>
                  <a:pt x="324632" y="213554"/>
                  <a:pt x="271148" y="213554"/>
                  <a:pt x="238147" y="246536"/>
                </a:cubicBezTo>
                <a:lnTo>
                  <a:pt x="246374" y="254763"/>
                </a:lnTo>
                <a:cubicBezTo>
                  <a:pt x="246367" y="254771"/>
                  <a:pt x="246359" y="254779"/>
                  <a:pt x="246352" y="254786"/>
                </a:cubicBezTo>
                <a:cubicBezTo>
                  <a:pt x="246344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70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8" y="221373"/>
                </a:cubicBezTo>
                <a:cubicBezTo>
                  <a:pt x="57671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89" y="195895"/>
                  <a:pt x="53000" y="178457"/>
                  <a:pt x="53000" y="159854"/>
                </a:cubicBezTo>
                <a:cubicBezTo>
                  <a:pt x="53000" y="132604"/>
                  <a:pt x="63706" y="107854"/>
                  <a:pt x="81286" y="89721"/>
                </a:cubicBezTo>
                <a:lnTo>
                  <a:pt x="81286" y="89721"/>
                </a:ln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30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lnTo>
                  <a:pt x="297890" y="0"/>
                </a:lnTo>
                <a:cubicBezTo>
                  <a:pt x="323144" y="391"/>
                  <a:pt x="348215" y="10322"/>
                  <a:pt x="367484" y="29591"/>
                </a:cubicBezTo>
                <a:cubicBezTo>
                  <a:pt x="380644" y="42751"/>
                  <a:pt x="389448" y="58618"/>
                  <a:pt x="393604" y="75474"/>
                </a:cubicBezTo>
                <a:cubicBezTo>
                  <a:pt x="408376" y="66408"/>
                  <a:pt x="425787" y="61434"/>
                  <a:pt x="444360" y="61434"/>
                </a:cubicBezTo>
                <a:cubicBezTo>
                  <a:pt x="471611" y="61434"/>
                  <a:pt x="496360" y="72140"/>
                  <a:pt x="514494" y="89721"/>
                </a:cubicBezTo>
                <a:cubicBezTo>
                  <a:pt x="532075" y="107854"/>
                  <a:pt x="542780" y="132604"/>
                  <a:pt x="542780" y="159854"/>
                </a:cubicBezTo>
                <a:cubicBezTo>
                  <a:pt x="542780" y="178427"/>
                  <a:pt x="537807" y="195839"/>
                  <a:pt x="528740" y="210610"/>
                </a:cubicBezTo>
                <a:cubicBezTo>
                  <a:pt x="545596" y="214766"/>
                  <a:pt x="561463" y="223570"/>
                  <a:pt x="574624" y="236731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57" name="Oval 756"/>
          <p:cNvSpPr/>
          <p:nvPr/>
        </p:nvSpPr>
        <p:spPr>
          <a:xfrm>
            <a:off x="531499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58" name="Oval 757"/>
          <p:cNvSpPr/>
          <p:nvPr/>
        </p:nvSpPr>
        <p:spPr>
          <a:xfrm>
            <a:off x="25975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59" name="Oval 758"/>
          <p:cNvSpPr/>
          <p:nvPr/>
        </p:nvSpPr>
        <p:spPr>
          <a:xfrm>
            <a:off x="89165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60" name="Oval 759"/>
          <p:cNvSpPr/>
          <p:nvPr/>
        </p:nvSpPr>
        <p:spPr>
          <a:xfrm>
            <a:off x="152356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61" name="Oval 760"/>
          <p:cNvSpPr/>
          <p:nvPr/>
        </p:nvSpPr>
        <p:spPr>
          <a:xfrm>
            <a:off x="215546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62" name="Oval 761"/>
          <p:cNvSpPr/>
          <p:nvPr/>
        </p:nvSpPr>
        <p:spPr>
          <a:xfrm>
            <a:off x="278737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63" name="Oval 762"/>
          <p:cNvSpPr/>
          <p:nvPr/>
        </p:nvSpPr>
        <p:spPr>
          <a:xfrm>
            <a:off x="341927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64" name="Oval 763"/>
          <p:cNvSpPr/>
          <p:nvPr/>
        </p:nvSpPr>
        <p:spPr>
          <a:xfrm>
            <a:off x="405118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65" name="Oval 764"/>
          <p:cNvSpPr/>
          <p:nvPr/>
        </p:nvSpPr>
        <p:spPr>
          <a:xfrm>
            <a:off x="468308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66" name="Oval 765"/>
          <p:cNvSpPr/>
          <p:nvPr/>
        </p:nvSpPr>
        <p:spPr>
          <a:xfrm>
            <a:off x="657880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67" name="Oval 766"/>
          <p:cNvSpPr/>
          <p:nvPr/>
        </p:nvSpPr>
        <p:spPr>
          <a:xfrm>
            <a:off x="594689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68" name="Oval 767"/>
          <p:cNvSpPr/>
          <p:nvPr/>
        </p:nvSpPr>
        <p:spPr>
          <a:xfrm>
            <a:off x="7842610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69" name="Oval 768"/>
          <p:cNvSpPr/>
          <p:nvPr/>
        </p:nvSpPr>
        <p:spPr>
          <a:xfrm>
            <a:off x="721070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70" name="Oval 769"/>
          <p:cNvSpPr/>
          <p:nvPr/>
        </p:nvSpPr>
        <p:spPr>
          <a:xfrm>
            <a:off x="8474515" y="1829333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71" name="Teardrop 3"/>
          <p:cNvSpPr/>
          <p:nvPr/>
        </p:nvSpPr>
        <p:spPr>
          <a:xfrm rot="5400000" flipH="1" flipV="1">
            <a:off x="483207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72" name="Teardrop 3"/>
          <p:cNvSpPr/>
          <p:nvPr/>
        </p:nvSpPr>
        <p:spPr>
          <a:xfrm rot="5400000" flipH="1" flipV="1">
            <a:off x="-111581" y="2096312"/>
            <a:ext cx="459486" cy="236325"/>
          </a:xfrm>
          <a:custGeom>
            <a:avLst/>
            <a:gdLst/>
            <a:ahLst/>
            <a:cxnLst/>
            <a:rect l="l" t="t" r="r" b="b"/>
            <a:pathLst>
              <a:path w="612648" h="315100">
                <a:moveTo>
                  <a:pt x="239386" y="75670"/>
                </a:moveTo>
                <a:cubicBezTo>
                  <a:pt x="230866" y="67149"/>
                  <a:pt x="224313" y="57406"/>
                  <a:pt x="219944" y="46909"/>
                </a:cubicBezTo>
                <a:cubicBezTo>
                  <a:pt x="207099" y="60107"/>
                  <a:pt x="182914" y="65356"/>
                  <a:pt x="163810" y="64989"/>
                </a:cubicBezTo>
                <a:cubicBezTo>
                  <a:pt x="113792" y="64989"/>
                  <a:pt x="73243" y="105538"/>
                  <a:pt x="73243" y="155556"/>
                </a:cubicBezTo>
                <a:cubicBezTo>
                  <a:pt x="73243" y="179467"/>
                  <a:pt x="82509" y="201213"/>
                  <a:pt x="97830" y="217225"/>
                </a:cubicBezTo>
                <a:close/>
                <a:moveTo>
                  <a:pt x="268191" y="95157"/>
                </a:moveTo>
                <a:cubicBezTo>
                  <a:pt x="257695" y="90787"/>
                  <a:pt x="247952" y="84234"/>
                  <a:pt x="239431" y="75715"/>
                </a:cubicBezTo>
                <a:lnTo>
                  <a:pt x="97875" y="217270"/>
                </a:lnTo>
                <a:cubicBezTo>
                  <a:pt x="113887" y="232591"/>
                  <a:pt x="135634" y="241857"/>
                  <a:pt x="159544" y="241857"/>
                </a:cubicBezTo>
                <a:cubicBezTo>
                  <a:pt x="184553" y="241857"/>
                  <a:pt x="207195" y="231720"/>
                  <a:pt x="223585" y="215331"/>
                </a:cubicBezTo>
                <a:cubicBezTo>
                  <a:pt x="239974" y="198941"/>
                  <a:pt x="250111" y="176299"/>
                  <a:pt x="250111" y="151290"/>
                </a:cubicBezTo>
                <a:cubicBezTo>
                  <a:pt x="249745" y="132187"/>
                  <a:pt x="254994" y="108002"/>
                  <a:pt x="268191" y="95157"/>
                </a:cubicBezTo>
                <a:close/>
                <a:moveTo>
                  <a:pt x="391275" y="232488"/>
                </a:moveTo>
                <a:cubicBezTo>
                  <a:pt x="366688" y="214199"/>
                  <a:pt x="350981" y="184860"/>
                  <a:pt x="350981" y="151853"/>
                </a:cubicBezTo>
                <a:cubicBezTo>
                  <a:pt x="351479" y="125869"/>
                  <a:pt x="347689" y="109892"/>
                  <a:pt x="331337" y="99934"/>
                </a:cubicBezTo>
                <a:cubicBezTo>
                  <a:pt x="315088" y="104415"/>
                  <a:pt x="297874" y="104335"/>
                  <a:pt x="281637" y="99721"/>
                </a:cubicBezTo>
                <a:cubicBezTo>
                  <a:pt x="265010" y="109675"/>
                  <a:pt x="261165" y="125694"/>
                  <a:pt x="261667" y="151853"/>
                </a:cubicBezTo>
                <a:cubicBezTo>
                  <a:pt x="261667" y="179968"/>
                  <a:pt x="250271" y="205421"/>
                  <a:pt x="231847" y="223846"/>
                </a:cubicBezTo>
                <a:lnTo>
                  <a:pt x="221347" y="232509"/>
                </a:lnTo>
                <a:cubicBezTo>
                  <a:pt x="224390" y="249009"/>
                  <a:pt x="232545" y="264623"/>
                  <a:pt x="245300" y="277378"/>
                </a:cubicBezTo>
                <a:cubicBezTo>
                  <a:pt x="262208" y="294285"/>
                  <a:pt x="284137" y="303111"/>
                  <a:pt x="306292" y="303599"/>
                </a:cubicBezTo>
                <a:lnTo>
                  <a:pt x="306292" y="218433"/>
                </a:lnTo>
                <a:lnTo>
                  <a:pt x="306356" y="218433"/>
                </a:lnTo>
                <a:lnTo>
                  <a:pt x="306356" y="303599"/>
                </a:lnTo>
                <a:cubicBezTo>
                  <a:pt x="328512" y="303110"/>
                  <a:pt x="350441" y="294285"/>
                  <a:pt x="367348" y="277378"/>
                </a:cubicBezTo>
                <a:cubicBezTo>
                  <a:pt x="380109" y="264617"/>
                  <a:pt x="388266" y="248996"/>
                  <a:pt x="391275" y="232488"/>
                </a:cubicBezTo>
                <a:close/>
                <a:moveTo>
                  <a:pt x="514773" y="217271"/>
                </a:moveTo>
                <a:lnTo>
                  <a:pt x="373218" y="75716"/>
                </a:lnTo>
                <a:cubicBezTo>
                  <a:pt x="364700" y="84231"/>
                  <a:pt x="354962" y="90781"/>
                  <a:pt x="344508" y="95209"/>
                </a:cubicBezTo>
                <a:cubicBezTo>
                  <a:pt x="357668" y="108066"/>
                  <a:pt x="362903" y="132212"/>
                  <a:pt x="362537" y="151290"/>
                </a:cubicBezTo>
                <a:cubicBezTo>
                  <a:pt x="362537" y="201309"/>
                  <a:pt x="403086" y="241857"/>
                  <a:pt x="453104" y="241857"/>
                </a:cubicBezTo>
                <a:cubicBezTo>
                  <a:pt x="477015" y="241857"/>
                  <a:pt x="498761" y="232592"/>
                  <a:pt x="514773" y="217271"/>
                </a:cubicBezTo>
                <a:close/>
                <a:moveTo>
                  <a:pt x="539405" y="155556"/>
                </a:moveTo>
                <a:cubicBezTo>
                  <a:pt x="539405" y="105538"/>
                  <a:pt x="498856" y="64989"/>
                  <a:pt x="448838" y="64989"/>
                </a:cubicBezTo>
                <a:cubicBezTo>
                  <a:pt x="429760" y="65355"/>
                  <a:pt x="405614" y="60121"/>
                  <a:pt x="392756" y="46961"/>
                </a:cubicBezTo>
                <a:cubicBezTo>
                  <a:pt x="388329" y="57415"/>
                  <a:pt x="381778" y="67153"/>
                  <a:pt x="373263" y="75671"/>
                </a:cubicBezTo>
                <a:lnTo>
                  <a:pt x="514818" y="217225"/>
                </a:lnTo>
                <a:cubicBezTo>
                  <a:pt x="530139" y="201213"/>
                  <a:pt x="539405" y="179467"/>
                  <a:pt x="539405" y="155556"/>
                </a:cubicBezTo>
                <a:close/>
                <a:moveTo>
                  <a:pt x="612648" y="8776"/>
                </a:moveTo>
                <a:cubicBezTo>
                  <a:pt x="612257" y="34030"/>
                  <a:pt x="602326" y="59101"/>
                  <a:pt x="583058" y="78369"/>
                </a:cubicBezTo>
                <a:cubicBezTo>
                  <a:pt x="569890" y="91537"/>
                  <a:pt x="554014" y="100343"/>
                  <a:pt x="537134" y="104416"/>
                </a:cubicBezTo>
                <a:cubicBezTo>
                  <a:pt x="546225" y="119205"/>
                  <a:pt x="551214" y="136643"/>
                  <a:pt x="551214" y="155247"/>
                </a:cubicBezTo>
                <a:cubicBezTo>
                  <a:pt x="551214" y="182497"/>
                  <a:pt x="540509" y="207247"/>
                  <a:pt x="522928" y="225380"/>
                </a:cubicBezTo>
                <a:lnTo>
                  <a:pt x="522928" y="225380"/>
                </a:lnTo>
                <a:cubicBezTo>
                  <a:pt x="504794" y="242961"/>
                  <a:pt x="480045" y="253667"/>
                  <a:pt x="452794" y="253667"/>
                </a:cubicBezTo>
                <a:cubicBezTo>
                  <a:pt x="434191" y="253667"/>
                  <a:pt x="416753" y="248677"/>
                  <a:pt x="401964" y="239586"/>
                </a:cubicBezTo>
                <a:cubicBezTo>
                  <a:pt x="397891" y="256466"/>
                  <a:pt x="389084" y="272342"/>
                  <a:pt x="375917" y="285509"/>
                </a:cubicBezTo>
                <a:cubicBezTo>
                  <a:pt x="356649" y="304778"/>
                  <a:pt x="331578" y="314709"/>
                  <a:pt x="306324" y="315100"/>
                </a:cubicBezTo>
                <a:lnTo>
                  <a:pt x="306324" y="315100"/>
                </a:lnTo>
                <a:cubicBezTo>
                  <a:pt x="281070" y="314709"/>
                  <a:pt x="255999" y="304778"/>
                  <a:pt x="236731" y="285509"/>
                </a:cubicBezTo>
                <a:cubicBezTo>
                  <a:pt x="223571" y="272349"/>
                  <a:pt x="214766" y="256482"/>
                  <a:pt x="210610" y="239626"/>
                </a:cubicBezTo>
                <a:cubicBezTo>
                  <a:pt x="195839" y="248693"/>
                  <a:pt x="178427" y="253666"/>
                  <a:pt x="159854" y="253666"/>
                </a:cubicBezTo>
                <a:cubicBezTo>
                  <a:pt x="132604" y="253666"/>
                  <a:pt x="107854" y="242961"/>
                  <a:pt x="89720" y="225380"/>
                </a:cubicBezTo>
                <a:lnTo>
                  <a:pt x="89720" y="225380"/>
                </a:lnTo>
                <a:cubicBezTo>
                  <a:pt x="72140" y="207247"/>
                  <a:pt x="61434" y="182497"/>
                  <a:pt x="61434" y="155247"/>
                </a:cubicBezTo>
                <a:cubicBezTo>
                  <a:pt x="61434" y="136673"/>
                  <a:pt x="66408" y="119262"/>
                  <a:pt x="75474" y="104490"/>
                </a:cubicBezTo>
                <a:cubicBezTo>
                  <a:pt x="58618" y="100334"/>
                  <a:pt x="42751" y="91530"/>
                  <a:pt x="29591" y="78369"/>
                </a:cubicBezTo>
                <a:cubicBezTo>
                  <a:pt x="10322" y="59101"/>
                  <a:pt x="391" y="34030"/>
                  <a:pt x="0" y="8776"/>
                </a:cubicBezTo>
                <a:lnTo>
                  <a:pt x="0" y="8776"/>
                </a:lnTo>
                <a:lnTo>
                  <a:pt x="1828" y="0"/>
                </a:lnTo>
                <a:lnTo>
                  <a:pt x="13374" y="0"/>
                </a:lnTo>
                <a:cubicBezTo>
                  <a:pt x="11782" y="2802"/>
                  <a:pt x="11567" y="5771"/>
                  <a:pt x="11501" y="8744"/>
                </a:cubicBezTo>
                <a:lnTo>
                  <a:pt x="96667" y="8744"/>
                </a:lnTo>
                <a:lnTo>
                  <a:pt x="96667" y="8808"/>
                </a:lnTo>
                <a:lnTo>
                  <a:pt x="11501" y="8808"/>
                </a:lnTo>
                <a:cubicBezTo>
                  <a:pt x="11990" y="30964"/>
                  <a:pt x="20815" y="52893"/>
                  <a:pt x="37722" y="69800"/>
                </a:cubicBezTo>
                <a:cubicBezTo>
                  <a:pt x="50477" y="82555"/>
                  <a:pt x="66091" y="90711"/>
                  <a:pt x="82592" y="93753"/>
                </a:cubicBezTo>
                <a:cubicBezTo>
                  <a:pt x="100880" y="69151"/>
                  <a:pt x="130228" y="53433"/>
                  <a:pt x="163247" y="53433"/>
                </a:cubicBezTo>
                <a:cubicBezTo>
                  <a:pt x="186137" y="53872"/>
                  <a:pt x="201262" y="50984"/>
                  <a:pt x="211355" y="39116"/>
                </a:cubicBezTo>
                <a:cubicBezTo>
                  <a:pt x="212796" y="37420"/>
                  <a:pt x="214135" y="35542"/>
                  <a:pt x="215380" y="33463"/>
                </a:cubicBezTo>
                <a:lnTo>
                  <a:pt x="215236" y="0"/>
                </a:lnTo>
                <a:lnTo>
                  <a:pt x="223507" y="0"/>
                </a:lnTo>
                <a:cubicBezTo>
                  <a:pt x="219688" y="24354"/>
                  <a:pt x="227777" y="49750"/>
                  <a:pt x="246535" y="68520"/>
                </a:cubicBezTo>
                <a:lnTo>
                  <a:pt x="254763" y="60293"/>
                </a:lnTo>
                <a:cubicBezTo>
                  <a:pt x="254771" y="60299"/>
                  <a:pt x="254778" y="60307"/>
                  <a:pt x="254786" y="60315"/>
                </a:cubicBezTo>
                <a:lnTo>
                  <a:pt x="254808" y="60338"/>
                </a:lnTo>
                <a:lnTo>
                  <a:pt x="246580" y="68565"/>
                </a:lnTo>
                <a:cubicBezTo>
                  <a:pt x="279582" y="101547"/>
                  <a:pt x="333066" y="101547"/>
                  <a:pt x="366068" y="68565"/>
                </a:cubicBezTo>
                <a:lnTo>
                  <a:pt x="357840" y="60338"/>
                </a:lnTo>
                <a:cubicBezTo>
                  <a:pt x="357847" y="60330"/>
                  <a:pt x="357855" y="60322"/>
                  <a:pt x="357862" y="60315"/>
                </a:cubicBezTo>
                <a:lnTo>
                  <a:pt x="357885" y="60293"/>
                </a:lnTo>
                <a:lnTo>
                  <a:pt x="366113" y="68520"/>
                </a:lnTo>
                <a:cubicBezTo>
                  <a:pt x="384872" y="49750"/>
                  <a:pt x="392961" y="24354"/>
                  <a:pt x="389142" y="0"/>
                </a:cubicBezTo>
                <a:lnTo>
                  <a:pt x="397337" y="0"/>
                </a:lnTo>
                <a:cubicBezTo>
                  <a:pt x="401479" y="11094"/>
                  <a:pt x="400548" y="22668"/>
                  <a:pt x="397481" y="33790"/>
                </a:cubicBezTo>
                <a:cubicBezTo>
                  <a:pt x="407439" y="50142"/>
                  <a:pt x="423417" y="53932"/>
                  <a:pt x="449401" y="53433"/>
                </a:cubicBezTo>
                <a:cubicBezTo>
                  <a:pt x="482408" y="53434"/>
                  <a:pt x="511746" y="69140"/>
                  <a:pt x="530035" y="93727"/>
                </a:cubicBezTo>
                <a:cubicBezTo>
                  <a:pt x="546543" y="90718"/>
                  <a:pt x="562165" y="82561"/>
                  <a:pt x="574926" y="69800"/>
                </a:cubicBezTo>
                <a:cubicBezTo>
                  <a:pt x="591833" y="52893"/>
                  <a:pt x="600659" y="30964"/>
                  <a:pt x="601147" y="8808"/>
                </a:cubicBezTo>
                <a:lnTo>
                  <a:pt x="515982" y="8808"/>
                </a:lnTo>
                <a:lnTo>
                  <a:pt x="515981" y="8744"/>
                </a:lnTo>
                <a:lnTo>
                  <a:pt x="601147" y="8744"/>
                </a:lnTo>
                <a:lnTo>
                  <a:pt x="599275" y="0"/>
                </a:lnTo>
                <a:lnTo>
                  <a:pt x="610820" y="0"/>
                </a:lnTo>
                <a:cubicBezTo>
                  <a:pt x="612423" y="2826"/>
                  <a:pt x="612602" y="5800"/>
                  <a:pt x="612648" y="877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73" name="Teardrop 3"/>
          <p:cNvSpPr/>
          <p:nvPr/>
        </p:nvSpPr>
        <p:spPr>
          <a:xfrm rot="5400000" flipH="1" flipV="1">
            <a:off x="104064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74" name="Teardrop 3"/>
          <p:cNvSpPr/>
          <p:nvPr/>
        </p:nvSpPr>
        <p:spPr>
          <a:xfrm rot="5400000" flipH="1" flipV="1">
            <a:off x="167255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75" name="Teardrop 3"/>
          <p:cNvSpPr/>
          <p:nvPr/>
        </p:nvSpPr>
        <p:spPr>
          <a:xfrm rot="5400000" flipH="1" flipV="1">
            <a:off x="230445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76" name="Teardrop 3"/>
          <p:cNvSpPr/>
          <p:nvPr/>
        </p:nvSpPr>
        <p:spPr>
          <a:xfrm rot="5400000" flipH="1" flipV="1">
            <a:off x="293636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77" name="Teardrop 3"/>
          <p:cNvSpPr/>
          <p:nvPr/>
        </p:nvSpPr>
        <p:spPr>
          <a:xfrm rot="5400000" flipH="1" flipV="1">
            <a:off x="356826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78" name="Teardrop 3"/>
          <p:cNvSpPr/>
          <p:nvPr/>
        </p:nvSpPr>
        <p:spPr>
          <a:xfrm rot="5400000" flipH="1" flipV="1">
            <a:off x="420017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79" name="Teardrop 3"/>
          <p:cNvSpPr/>
          <p:nvPr/>
        </p:nvSpPr>
        <p:spPr>
          <a:xfrm rot="5400000" flipH="1" flipV="1">
            <a:off x="609588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80" name="Teardrop 3"/>
          <p:cNvSpPr/>
          <p:nvPr/>
        </p:nvSpPr>
        <p:spPr>
          <a:xfrm rot="5400000" flipH="1" flipV="1">
            <a:off x="546398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81" name="Teardrop 3"/>
          <p:cNvSpPr/>
          <p:nvPr/>
        </p:nvSpPr>
        <p:spPr>
          <a:xfrm rot="5400000" flipH="1" flipV="1">
            <a:off x="7359699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82" name="Teardrop 3"/>
          <p:cNvSpPr/>
          <p:nvPr/>
        </p:nvSpPr>
        <p:spPr>
          <a:xfrm rot="5400000" flipH="1" flipV="1">
            <a:off x="672779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83" name="Teardrop 3"/>
          <p:cNvSpPr/>
          <p:nvPr/>
        </p:nvSpPr>
        <p:spPr>
          <a:xfrm rot="5400000" flipH="1" flipV="1">
            <a:off x="8623508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84" name="Teardrop 3"/>
          <p:cNvSpPr/>
          <p:nvPr/>
        </p:nvSpPr>
        <p:spPr>
          <a:xfrm rot="5400000" flipH="1" flipV="1">
            <a:off x="799160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85" name="Teardrop 3"/>
          <p:cNvSpPr/>
          <p:nvPr/>
        </p:nvSpPr>
        <p:spPr>
          <a:xfrm rot="5400000" flipH="1" flipV="1">
            <a:off x="408744" y="1984732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86" name="Oval 785"/>
          <p:cNvSpPr/>
          <p:nvPr/>
        </p:nvSpPr>
        <p:spPr>
          <a:xfrm>
            <a:off x="499838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87" name="Oval 786"/>
          <p:cNvSpPr/>
          <p:nvPr/>
        </p:nvSpPr>
        <p:spPr>
          <a:xfrm>
            <a:off x="57504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88" name="Oval 787"/>
          <p:cNvSpPr/>
          <p:nvPr/>
        </p:nvSpPr>
        <p:spPr>
          <a:xfrm>
            <a:off x="120695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89" name="Oval 788"/>
          <p:cNvSpPr/>
          <p:nvPr/>
        </p:nvSpPr>
        <p:spPr>
          <a:xfrm>
            <a:off x="183885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90" name="Oval 789"/>
          <p:cNvSpPr/>
          <p:nvPr/>
        </p:nvSpPr>
        <p:spPr>
          <a:xfrm>
            <a:off x="247076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91" name="Oval 790"/>
          <p:cNvSpPr/>
          <p:nvPr/>
        </p:nvSpPr>
        <p:spPr>
          <a:xfrm>
            <a:off x="310266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92" name="Oval 791"/>
          <p:cNvSpPr/>
          <p:nvPr/>
        </p:nvSpPr>
        <p:spPr>
          <a:xfrm>
            <a:off x="373457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93" name="Oval 792"/>
          <p:cNvSpPr/>
          <p:nvPr/>
        </p:nvSpPr>
        <p:spPr>
          <a:xfrm>
            <a:off x="436647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94" name="Oval 793"/>
          <p:cNvSpPr/>
          <p:nvPr/>
        </p:nvSpPr>
        <p:spPr>
          <a:xfrm>
            <a:off x="626219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95" name="Oval 794"/>
          <p:cNvSpPr/>
          <p:nvPr/>
        </p:nvSpPr>
        <p:spPr>
          <a:xfrm>
            <a:off x="563028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96" name="Oval 795"/>
          <p:cNvSpPr/>
          <p:nvPr/>
        </p:nvSpPr>
        <p:spPr>
          <a:xfrm>
            <a:off x="7526004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97" name="Oval 796"/>
          <p:cNvSpPr/>
          <p:nvPr/>
        </p:nvSpPr>
        <p:spPr>
          <a:xfrm>
            <a:off x="689409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98" name="Oval 797"/>
          <p:cNvSpPr/>
          <p:nvPr/>
        </p:nvSpPr>
        <p:spPr>
          <a:xfrm>
            <a:off x="8789813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99" name="Oval 798"/>
          <p:cNvSpPr/>
          <p:nvPr/>
        </p:nvSpPr>
        <p:spPr>
          <a:xfrm>
            <a:off x="8157909" y="2151350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00" name="Teardrop 3"/>
          <p:cNvSpPr/>
          <p:nvPr/>
        </p:nvSpPr>
        <p:spPr>
          <a:xfrm rot="5400000" flipH="1" flipV="1">
            <a:off x="4515886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01" name="Teardrop 3"/>
          <p:cNvSpPr/>
          <p:nvPr/>
        </p:nvSpPr>
        <p:spPr>
          <a:xfrm rot="5400000" flipH="1" flipV="1">
            <a:off x="724457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02" name="Teardrop 3"/>
          <p:cNvSpPr/>
          <p:nvPr/>
        </p:nvSpPr>
        <p:spPr>
          <a:xfrm rot="5400000" flipH="1" flipV="1">
            <a:off x="135636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03" name="Teardrop 3"/>
          <p:cNvSpPr/>
          <p:nvPr/>
        </p:nvSpPr>
        <p:spPr>
          <a:xfrm rot="5400000" flipH="1" flipV="1">
            <a:off x="1988267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04" name="Teardrop 3"/>
          <p:cNvSpPr/>
          <p:nvPr/>
        </p:nvSpPr>
        <p:spPr>
          <a:xfrm rot="5400000" flipH="1" flipV="1">
            <a:off x="262017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05" name="Teardrop 3"/>
          <p:cNvSpPr/>
          <p:nvPr/>
        </p:nvSpPr>
        <p:spPr>
          <a:xfrm rot="5400000" flipH="1" flipV="1">
            <a:off x="3252077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06" name="Teardrop 3"/>
          <p:cNvSpPr/>
          <p:nvPr/>
        </p:nvSpPr>
        <p:spPr>
          <a:xfrm rot="5400000" flipH="1" flipV="1">
            <a:off x="388398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07" name="Teardrop 3"/>
          <p:cNvSpPr/>
          <p:nvPr/>
        </p:nvSpPr>
        <p:spPr>
          <a:xfrm rot="5400000" flipH="1" flipV="1">
            <a:off x="5779697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08" name="Teardrop 3"/>
          <p:cNvSpPr/>
          <p:nvPr/>
        </p:nvSpPr>
        <p:spPr>
          <a:xfrm rot="5400000" flipH="1" flipV="1">
            <a:off x="514779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09" name="Teardrop 3"/>
          <p:cNvSpPr/>
          <p:nvPr/>
        </p:nvSpPr>
        <p:spPr>
          <a:xfrm rot="5400000" flipH="1" flipV="1">
            <a:off x="7043507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10" name="Teardrop 3"/>
          <p:cNvSpPr/>
          <p:nvPr/>
        </p:nvSpPr>
        <p:spPr>
          <a:xfrm rot="5400000" flipH="1" flipV="1">
            <a:off x="641160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11" name="Teardrop 3"/>
          <p:cNvSpPr/>
          <p:nvPr/>
        </p:nvSpPr>
        <p:spPr>
          <a:xfrm rot="5400000" flipH="1" flipV="1">
            <a:off x="8307316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12" name="Teardrop 3"/>
          <p:cNvSpPr/>
          <p:nvPr/>
        </p:nvSpPr>
        <p:spPr>
          <a:xfrm rot="5400000" flipH="1" flipV="1">
            <a:off x="767541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13" name="Teardrop 3"/>
          <p:cNvSpPr/>
          <p:nvPr/>
        </p:nvSpPr>
        <p:spPr>
          <a:xfrm rot="5400000" flipH="1" flipV="1">
            <a:off x="92552" y="2301434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14" name="Teardrop 3"/>
          <p:cNvSpPr/>
          <p:nvPr/>
        </p:nvSpPr>
        <p:spPr>
          <a:xfrm rot="5400000" flipH="1" flipV="1">
            <a:off x="8820002" y="2417948"/>
            <a:ext cx="446836" cy="201161"/>
          </a:xfrm>
          <a:custGeom>
            <a:avLst/>
            <a:gdLst/>
            <a:ahLst/>
            <a:cxnLst/>
            <a:rect l="l" t="t" r="r" b="b"/>
            <a:pathLst>
              <a:path w="595781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7" y="250112"/>
                  <a:pt x="155376" y="250112"/>
                </a:cubicBezTo>
                <a:cubicBezTo>
                  <a:pt x="174454" y="249746"/>
                  <a:pt x="198601" y="254980"/>
                  <a:pt x="211458" y="268141"/>
                </a:cubicBezTo>
                <a:cubicBezTo>
                  <a:pt x="215885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382868" y="82592"/>
                </a:moveTo>
                <a:cubicBezTo>
                  <a:pt x="379825" y="66091"/>
                  <a:pt x="371670" y="50477"/>
                  <a:pt x="358914" y="37722"/>
                </a:cubicBezTo>
                <a:cubicBezTo>
                  <a:pt x="342007" y="20815"/>
                  <a:pt x="320078" y="11989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4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6" y="100902"/>
                  <a:pt x="253233" y="130241"/>
                  <a:pt x="253233" y="163248"/>
                </a:cubicBezTo>
                <a:cubicBezTo>
                  <a:pt x="252735" y="189232"/>
                  <a:pt x="256525" y="205210"/>
                  <a:pt x="272877" y="215167"/>
                </a:cubicBezTo>
                <a:cubicBezTo>
                  <a:pt x="289126" y="210687"/>
                  <a:pt x="306340" y="210767"/>
                  <a:pt x="322577" y="215380"/>
                </a:cubicBezTo>
                <a:cubicBezTo>
                  <a:pt x="324655" y="214136"/>
                  <a:pt x="326534" y="212797"/>
                  <a:pt x="328229" y="211355"/>
                </a:cubicBezTo>
                <a:cubicBezTo>
                  <a:pt x="340097" y="201263"/>
                  <a:pt x="342986" y="186138"/>
                  <a:pt x="342547" y="163248"/>
                </a:cubicBezTo>
                <a:cubicBezTo>
                  <a:pt x="342547" y="130228"/>
                  <a:pt x="358265" y="100880"/>
                  <a:pt x="382868" y="82592"/>
                </a:cubicBezTo>
                <a:close/>
                <a:moveTo>
                  <a:pt x="506339" y="97830"/>
                </a:moveTo>
                <a:cubicBezTo>
                  <a:pt x="490327" y="82509"/>
                  <a:pt x="468581" y="73244"/>
                  <a:pt x="444670" y="73244"/>
                </a:cubicBezTo>
                <a:cubicBezTo>
                  <a:pt x="394652" y="73244"/>
                  <a:pt x="354103" y="113792"/>
                  <a:pt x="354103" y="163811"/>
                </a:cubicBezTo>
                <a:cubicBezTo>
                  <a:pt x="354470" y="182914"/>
                  <a:pt x="349220" y="207099"/>
                  <a:pt x="336023" y="219944"/>
                </a:cubicBezTo>
                <a:cubicBezTo>
                  <a:pt x="346519" y="224314"/>
                  <a:pt x="356263" y="230867"/>
                  <a:pt x="364783" y="239386"/>
                </a:cubicBezTo>
                <a:close/>
                <a:moveTo>
                  <a:pt x="530971" y="159544"/>
                </a:moveTo>
                <a:cubicBezTo>
                  <a:pt x="530971" y="135634"/>
                  <a:pt x="521705" y="113887"/>
                  <a:pt x="506384" y="97876"/>
                </a:cubicBezTo>
                <a:lnTo>
                  <a:pt x="364828" y="239431"/>
                </a:lnTo>
                <a:cubicBezTo>
                  <a:pt x="373348" y="247952"/>
                  <a:pt x="379901" y="257695"/>
                  <a:pt x="384270" y="268192"/>
                </a:cubicBezTo>
                <a:cubicBezTo>
                  <a:pt x="397115" y="254994"/>
                  <a:pt x="421300" y="249745"/>
                  <a:pt x="440404" y="250111"/>
                </a:cubicBezTo>
                <a:cubicBezTo>
                  <a:pt x="465413" y="250112"/>
                  <a:pt x="488055" y="239974"/>
                  <a:pt x="504444" y="223585"/>
                </a:cubicBezTo>
                <a:cubicBezTo>
                  <a:pt x="520834" y="207196"/>
                  <a:pt x="530971" y="184554"/>
                  <a:pt x="530971" y="159544"/>
                </a:cubicBezTo>
                <a:close/>
                <a:moveTo>
                  <a:pt x="595781" y="268215"/>
                </a:moveTo>
                <a:lnTo>
                  <a:pt x="581969" y="268215"/>
                </a:lnTo>
                <a:cubicBezTo>
                  <a:pt x="578743" y="259654"/>
                  <a:pt x="573266" y="252074"/>
                  <a:pt x="566492" y="245300"/>
                </a:cubicBezTo>
                <a:cubicBezTo>
                  <a:pt x="553737" y="232545"/>
                  <a:pt x="538123" y="224389"/>
                  <a:pt x="521623" y="221347"/>
                </a:cubicBezTo>
                <a:cubicBezTo>
                  <a:pt x="519174" y="225205"/>
                  <a:pt x="516174" y="228633"/>
                  <a:pt x="512960" y="231847"/>
                </a:cubicBezTo>
                <a:cubicBezTo>
                  <a:pt x="494535" y="250272"/>
                  <a:pt x="469082" y="261667"/>
                  <a:pt x="440967" y="261667"/>
                </a:cubicBezTo>
                <a:cubicBezTo>
                  <a:pt x="425629" y="261373"/>
                  <a:pt x="413777" y="262574"/>
                  <a:pt x="405186" y="268215"/>
                </a:cubicBezTo>
                <a:lnTo>
                  <a:pt x="372038" y="268215"/>
                </a:lnTo>
                <a:cubicBezTo>
                  <a:pt x="369178" y="260078"/>
                  <a:pt x="364042" y="252948"/>
                  <a:pt x="357679" y="246581"/>
                </a:cubicBezTo>
                <a:lnTo>
                  <a:pt x="349451" y="254808"/>
                </a:lnTo>
                <a:lnTo>
                  <a:pt x="349428" y="254786"/>
                </a:lnTo>
                <a:cubicBezTo>
                  <a:pt x="349421" y="254779"/>
                  <a:pt x="349413" y="254771"/>
                  <a:pt x="349406" y="254763"/>
                </a:cubicBezTo>
                <a:lnTo>
                  <a:pt x="357634" y="246536"/>
                </a:lnTo>
                <a:cubicBezTo>
                  <a:pt x="324632" y="213554"/>
                  <a:pt x="271148" y="213554"/>
                  <a:pt x="238147" y="246536"/>
                </a:cubicBezTo>
                <a:lnTo>
                  <a:pt x="246374" y="254763"/>
                </a:lnTo>
                <a:cubicBezTo>
                  <a:pt x="246367" y="254771"/>
                  <a:pt x="246359" y="254779"/>
                  <a:pt x="246352" y="254786"/>
                </a:cubicBezTo>
                <a:cubicBezTo>
                  <a:pt x="246344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69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8" y="221373"/>
                </a:cubicBezTo>
                <a:cubicBezTo>
                  <a:pt x="57671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89" y="195895"/>
                  <a:pt x="53000" y="178457"/>
                  <a:pt x="53000" y="159854"/>
                </a:cubicBezTo>
                <a:cubicBezTo>
                  <a:pt x="53000" y="132604"/>
                  <a:pt x="63706" y="107854"/>
                  <a:pt x="81286" y="89721"/>
                </a:cubicBezTo>
                <a:lnTo>
                  <a:pt x="81286" y="89721"/>
                </a:ln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30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lnTo>
                  <a:pt x="297890" y="0"/>
                </a:lnTo>
                <a:cubicBezTo>
                  <a:pt x="323144" y="391"/>
                  <a:pt x="348215" y="10322"/>
                  <a:pt x="367484" y="29591"/>
                </a:cubicBezTo>
                <a:cubicBezTo>
                  <a:pt x="380644" y="42751"/>
                  <a:pt x="389448" y="58618"/>
                  <a:pt x="393604" y="75474"/>
                </a:cubicBezTo>
                <a:cubicBezTo>
                  <a:pt x="408376" y="66408"/>
                  <a:pt x="425787" y="61434"/>
                  <a:pt x="444360" y="61434"/>
                </a:cubicBezTo>
                <a:cubicBezTo>
                  <a:pt x="471611" y="61434"/>
                  <a:pt x="496360" y="72140"/>
                  <a:pt x="514494" y="89721"/>
                </a:cubicBezTo>
                <a:cubicBezTo>
                  <a:pt x="532075" y="107854"/>
                  <a:pt x="542780" y="132604"/>
                  <a:pt x="542780" y="159854"/>
                </a:cubicBezTo>
                <a:cubicBezTo>
                  <a:pt x="542780" y="178427"/>
                  <a:pt x="537807" y="195839"/>
                  <a:pt x="528740" y="210610"/>
                </a:cubicBezTo>
                <a:cubicBezTo>
                  <a:pt x="545596" y="214766"/>
                  <a:pt x="561463" y="223570"/>
                  <a:pt x="574624" y="236731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15" name="Oval 814"/>
          <p:cNvSpPr/>
          <p:nvPr/>
        </p:nvSpPr>
        <p:spPr>
          <a:xfrm>
            <a:off x="531499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16" name="Oval 815"/>
          <p:cNvSpPr/>
          <p:nvPr/>
        </p:nvSpPr>
        <p:spPr>
          <a:xfrm>
            <a:off x="25975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17" name="Oval 816"/>
          <p:cNvSpPr/>
          <p:nvPr/>
        </p:nvSpPr>
        <p:spPr>
          <a:xfrm>
            <a:off x="89165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18" name="Oval 817"/>
          <p:cNvSpPr/>
          <p:nvPr/>
        </p:nvSpPr>
        <p:spPr>
          <a:xfrm>
            <a:off x="152356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19" name="Oval 818"/>
          <p:cNvSpPr/>
          <p:nvPr/>
        </p:nvSpPr>
        <p:spPr>
          <a:xfrm>
            <a:off x="215546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20" name="Oval 819"/>
          <p:cNvSpPr/>
          <p:nvPr/>
        </p:nvSpPr>
        <p:spPr>
          <a:xfrm>
            <a:off x="278737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21" name="Oval 820"/>
          <p:cNvSpPr/>
          <p:nvPr/>
        </p:nvSpPr>
        <p:spPr>
          <a:xfrm>
            <a:off x="341927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22" name="Oval 821"/>
          <p:cNvSpPr/>
          <p:nvPr/>
        </p:nvSpPr>
        <p:spPr>
          <a:xfrm>
            <a:off x="405118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23" name="Oval 822"/>
          <p:cNvSpPr/>
          <p:nvPr/>
        </p:nvSpPr>
        <p:spPr>
          <a:xfrm>
            <a:off x="468308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24" name="Oval 823"/>
          <p:cNvSpPr/>
          <p:nvPr/>
        </p:nvSpPr>
        <p:spPr>
          <a:xfrm>
            <a:off x="657880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25" name="Oval 824"/>
          <p:cNvSpPr/>
          <p:nvPr/>
        </p:nvSpPr>
        <p:spPr>
          <a:xfrm>
            <a:off x="594689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26" name="Oval 825"/>
          <p:cNvSpPr/>
          <p:nvPr/>
        </p:nvSpPr>
        <p:spPr>
          <a:xfrm>
            <a:off x="7842610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27" name="Oval 826"/>
          <p:cNvSpPr/>
          <p:nvPr/>
        </p:nvSpPr>
        <p:spPr>
          <a:xfrm>
            <a:off x="721070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28" name="Oval 827"/>
          <p:cNvSpPr/>
          <p:nvPr/>
        </p:nvSpPr>
        <p:spPr>
          <a:xfrm>
            <a:off x="8474515" y="246702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29" name="Teardrop 3"/>
          <p:cNvSpPr/>
          <p:nvPr/>
        </p:nvSpPr>
        <p:spPr>
          <a:xfrm rot="5400000" flipH="1" flipV="1">
            <a:off x="483207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30" name="Teardrop 3"/>
          <p:cNvSpPr/>
          <p:nvPr/>
        </p:nvSpPr>
        <p:spPr>
          <a:xfrm rot="5400000" flipH="1" flipV="1">
            <a:off x="-111581" y="2729446"/>
            <a:ext cx="459486" cy="236325"/>
          </a:xfrm>
          <a:custGeom>
            <a:avLst/>
            <a:gdLst/>
            <a:ahLst/>
            <a:cxnLst/>
            <a:rect l="l" t="t" r="r" b="b"/>
            <a:pathLst>
              <a:path w="612648" h="315100">
                <a:moveTo>
                  <a:pt x="239386" y="75670"/>
                </a:moveTo>
                <a:cubicBezTo>
                  <a:pt x="230866" y="67149"/>
                  <a:pt x="224313" y="57406"/>
                  <a:pt x="219944" y="46909"/>
                </a:cubicBezTo>
                <a:cubicBezTo>
                  <a:pt x="207099" y="60107"/>
                  <a:pt x="182914" y="65356"/>
                  <a:pt x="163810" y="64989"/>
                </a:cubicBezTo>
                <a:cubicBezTo>
                  <a:pt x="113792" y="64989"/>
                  <a:pt x="73243" y="105538"/>
                  <a:pt x="73243" y="155556"/>
                </a:cubicBezTo>
                <a:cubicBezTo>
                  <a:pt x="73243" y="179467"/>
                  <a:pt x="82509" y="201213"/>
                  <a:pt x="97830" y="217225"/>
                </a:cubicBezTo>
                <a:close/>
                <a:moveTo>
                  <a:pt x="268191" y="95157"/>
                </a:moveTo>
                <a:cubicBezTo>
                  <a:pt x="257695" y="90787"/>
                  <a:pt x="247952" y="84234"/>
                  <a:pt x="239431" y="75715"/>
                </a:cubicBezTo>
                <a:lnTo>
                  <a:pt x="97875" y="217270"/>
                </a:lnTo>
                <a:cubicBezTo>
                  <a:pt x="113887" y="232591"/>
                  <a:pt x="135634" y="241857"/>
                  <a:pt x="159544" y="241857"/>
                </a:cubicBezTo>
                <a:cubicBezTo>
                  <a:pt x="184553" y="241857"/>
                  <a:pt x="207195" y="231720"/>
                  <a:pt x="223585" y="215331"/>
                </a:cubicBezTo>
                <a:cubicBezTo>
                  <a:pt x="239974" y="198941"/>
                  <a:pt x="250111" y="176299"/>
                  <a:pt x="250111" y="151290"/>
                </a:cubicBezTo>
                <a:cubicBezTo>
                  <a:pt x="249745" y="132187"/>
                  <a:pt x="254994" y="108002"/>
                  <a:pt x="268191" y="95157"/>
                </a:cubicBezTo>
                <a:close/>
                <a:moveTo>
                  <a:pt x="391275" y="232488"/>
                </a:moveTo>
                <a:cubicBezTo>
                  <a:pt x="366688" y="214199"/>
                  <a:pt x="350981" y="184860"/>
                  <a:pt x="350981" y="151853"/>
                </a:cubicBezTo>
                <a:cubicBezTo>
                  <a:pt x="351479" y="125869"/>
                  <a:pt x="347689" y="109892"/>
                  <a:pt x="331337" y="99934"/>
                </a:cubicBezTo>
                <a:cubicBezTo>
                  <a:pt x="315088" y="104415"/>
                  <a:pt x="297874" y="104335"/>
                  <a:pt x="281637" y="99721"/>
                </a:cubicBezTo>
                <a:cubicBezTo>
                  <a:pt x="265010" y="109675"/>
                  <a:pt x="261165" y="125694"/>
                  <a:pt x="261667" y="151853"/>
                </a:cubicBezTo>
                <a:cubicBezTo>
                  <a:pt x="261667" y="179968"/>
                  <a:pt x="250271" y="205421"/>
                  <a:pt x="231847" y="223846"/>
                </a:cubicBezTo>
                <a:lnTo>
                  <a:pt x="221347" y="232509"/>
                </a:lnTo>
                <a:cubicBezTo>
                  <a:pt x="224390" y="249009"/>
                  <a:pt x="232545" y="264623"/>
                  <a:pt x="245300" y="277378"/>
                </a:cubicBezTo>
                <a:cubicBezTo>
                  <a:pt x="262208" y="294285"/>
                  <a:pt x="284137" y="303111"/>
                  <a:pt x="306292" y="303599"/>
                </a:cubicBezTo>
                <a:lnTo>
                  <a:pt x="306292" y="218433"/>
                </a:lnTo>
                <a:lnTo>
                  <a:pt x="306356" y="218433"/>
                </a:lnTo>
                <a:lnTo>
                  <a:pt x="306356" y="303599"/>
                </a:lnTo>
                <a:cubicBezTo>
                  <a:pt x="328512" y="303110"/>
                  <a:pt x="350441" y="294285"/>
                  <a:pt x="367348" y="277378"/>
                </a:cubicBezTo>
                <a:cubicBezTo>
                  <a:pt x="380109" y="264617"/>
                  <a:pt x="388266" y="248996"/>
                  <a:pt x="391275" y="232488"/>
                </a:cubicBezTo>
                <a:close/>
                <a:moveTo>
                  <a:pt x="514773" y="217271"/>
                </a:moveTo>
                <a:lnTo>
                  <a:pt x="373218" y="75716"/>
                </a:lnTo>
                <a:cubicBezTo>
                  <a:pt x="364700" y="84231"/>
                  <a:pt x="354962" y="90781"/>
                  <a:pt x="344508" y="95209"/>
                </a:cubicBezTo>
                <a:cubicBezTo>
                  <a:pt x="357668" y="108066"/>
                  <a:pt x="362903" y="132212"/>
                  <a:pt x="362537" y="151290"/>
                </a:cubicBezTo>
                <a:cubicBezTo>
                  <a:pt x="362537" y="201309"/>
                  <a:pt x="403086" y="241857"/>
                  <a:pt x="453104" y="241857"/>
                </a:cubicBezTo>
                <a:cubicBezTo>
                  <a:pt x="477015" y="241857"/>
                  <a:pt x="498761" y="232592"/>
                  <a:pt x="514773" y="217271"/>
                </a:cubicBezTo>
                <a:close/>
                <a:moveTo>
                  <a:pt x="539405" y="155556"/>
                </a:moveTo>
                <a:cubicBezTo>
                  <a:pt x="539405" y="105538"/>
                  <a:pt x="498856" y="64989"/>
                  <a:pt x="448838" y="64989"/>
                </a:cubicBezTo>
                <a:cubicBezTo>
                  <a:pt x="429760" y="65355"/>
                  <a:pt x="405614" y="60121"/>
                  <a:pt x="392756" y="46961"/>
                </a:cubicBezTo>
                <a:cubicBezTo>
                  <a:pt x="388329" y="57415"/>
                  <a:pt x="381778" y="67153"/>
                  <a:pt x="373263" y="75671"/>
                </a:cubicBezTo>
                <a:lnTo>
                  <a:pt x="514818" y="217225"/>
                </a:lnTo>
                <a:cubicBezTo>
                  <a:pt x="530139" y="201213"/>
                  <a:pt x="539405" y="179467"/>
                  <a:pt x="539405" y="155556"/>
                </a:cubicBezTo>
                <a:close/>
                <a:moveTo>
                  <a:pt x="612648" y="8776"/>
                </a:moveTo>
                <a:cubicBezTo>
                  <a:pt x="612257" y="34030"/>
                  <a:pt x="602326" y="59101"/>
                  <a:pt x="583058" y="78369"/>
                </a:cubicBezTo>
                <a:cubicBezTo>
                  <a:pt x="569890" y="91537"/>
                  <a:pt x="554014" y="100343"/>
                  <a:pt x="537134" y="104416"/>
                </a:cubicBezTo>
                <a:cubicBezTo>
                  <a:pt x="546225" y="119205"/>
                  <a:pt x="551214" y="136643"/>
                  <a:pt x="551214" y="155247"/>
                </a:cubicBezTo>
                <a:cubicBezTo>
                  <a:pt x="551214" y="182497"/>
                  <a:pt x="540509" y="207247"/>
                  <a:pt x="522928" y="225380"/>
                </a:cubicBezTo>
                <a:lnTo>
                  <a:pt x="522928" y="225380"/>
                </a:lnTo>
                <a:cubicBezTo>
                  <a:pt x="504794" y="242961"/>
                  <a:pt x="480045" y="253667"/>
                  <a:pt x="452794" y="253667"/>
                </a:cubicBezTo>
                <a:cubicBezTo>
                  <a:pt x="434191" y="253667"/>
                  <a:pt x="416753" y="248677"/>
                  <a:pt x="401964" y="239586"/>
                </a:cubicBezTo>
                <a:cubicBezTo>
                  <a:pt x="397891" y="256466"/>
                  <a:pt x="389084" y="272342"/>
                  <a:pt x="375917" y="285509"/>
                </a:cubicBezTo>
                <a:cubicBezTo>
                  <a:pt x="356649" y="304778"/>
                  <a:pt x="331578" y="314709"/>
                  <a:pt x="306324" y="315100"/>
                </a:cubicBezTo>
                <a:lnTo>
                  <a:pt x="306324" y="315100"/>
                </a:lnTo>
                <a:cubicBezTo>
                  <a:pt x="281070" y="314709"/>
                  <a:pt x="255999" y="304778"/>
                  <a:pt x="236731" y="285509"/>
                </a:cubicBezTo>
                <a:cubicBezTo>
                  <a:pt x="223571" y="272349"/>
                  <a:pt x="214766" y="256482"/>
                  <a:pt x="210610" y="239626"/>
                </a:cubicBezTo>
                <a:cubicBezTo>
                  <a:pt x="195839" y="248693"/>
                  <a:pt x="178427" y="253666"/>
                  <a:pt x="159854" y="253666"/>
                </a:cubicBezTo>
                <a:cubicBezTo>
                  <a:pt x="132604" y="253666"/>
                  <a:pt x="107854" y="242961"/>
                  <a:pt x="89720" y="225380"/>
                </a:cubicBezTo>
                <a:lnTo>
                  <a:pt x="89720" y="225380"/>
                </a:lnTo>
                <a:cubicBezTo>
                  <a:pt x="72140" y="207247"/>
                  <a:pt x="61434" y="182497"/>
                  <a:pt x="61434" y="155247"/>
                </a:cubicBezTo>
                <a:cubicBezTo>
                  <a:pt x="61434" y="136673"/>
                  <a:pt x="66408" y="119262"/>
                  <a:pt x="75474" y="104490"/>
                </a:cubicBezTo>
                <a:cubicBezTo>
                  <a:pt x="58618" y="100334"/>
                  <a:pt x="42751" y="91530"/>
                  <a:pt x="29591" y="78369"/>
                </a:cubicBezTo>
                <a:cubicBezTo>
                  <a:pt x="10322" y="59101"/>
                  <a:pt x="391" y="34030"/>
                  <a:pt x="0" y="8776"/>
                </a:cubicBezTo>
                <a:lnTo>
                  <a:pt x="0" y="8776"/>
                </a:lnTo>
                <a:lnTo>
                  <a:pt x="1828" y="0"/>
                </a:lnTo>
                <a:lnTo>
                  <a:pt x="13374" y="0"/>
                </a:lnTo>
                <a:cubicBezTo>
                  <a:pt x="11782" y="2802"/>
                  <a:pt x="11567" y="5771"/>
                  <a:pt x="11501" y="8744"/>
                </a:cubicBezTo>
                <a:lnTo>
                  <a:pt x="96667" y="8744"/>
                </a:lnTo>
                <a:lnTo>
                  <a:pt x="96667" y="8808"/>
                </a:lnTo>
                <a:lnTo>
                  <a:pt x="11501" y="8808"/>
                </a:lnTo>
                <a:cubicBezTo>
                  <a:pt x="11990" y="30964"/>
                  <a:pt x="20815" y="52893"/>
                  <a:pt x="37722" y="69800"/>
                </a:cubicBezTo>
                <a:cubicBezTo>
                  <a:pt x="50477" y="82555"/>
                  <a:pt x="66091" y="90711"/>
                  <a:pt x="82592" y="93753"/>
                </a:cubicBezTo>
                <a:cubicBezTo>
                  <a:pt x="100880" y="69151"/>
                  <a:pt x="130228" y="53433"/>
                  <a:pt x="163247" y="53433"/>
                </a:cubicBezTo>
                <a:cubicBezTo>
                  <a:pt x="186137" y="53872"/>
                  <a:pt x="201262" y="50984"/>
                  <a:pt x="211355" y="39116"/>
                </a:cubicBezTo>
                <a:cubicBezTo>
                  <a:pt x="212796" y="37420"/>
                  <a:pt x="214135" y="35542"/>
                  <a:pt x="215380" y="33463"/>
                </a:cubicBezTo>
                <a:lnTo>
                  <a:pt x="215236" y="0"/>
                </a:lnTo>
                <a:lnTo>
                  <a:pt x="223507" y="0"/>
                </a:lnTo>
                <a:cubicBezTo>
                  <a:pt x="219688" y="24354"/>
                  <a:pt x="227777" y="49750"/>
                  <a:pt x="246535" y="68520"/>
                </a:cubicBezTo>
                <a:lnTo>
                  <a:pt x="254763" y="60293"/>
                </a:lnTo>
                <a:cubicBezTo>
                  <a:pt x="254771" y="60299"/>
                  <a:pt x="254778" y="60307"/>
                  <a:pt x="254786" y="60315"/>
                </a:cubicBezTo>
                <a:lnTo>
                  <a:pt x="254808" y="60338"/>
                </a:lnTo>
                <a:lnTo>
                  <a:pt x="246580" y="68565"/>
                </a:lnTo>
                <a:cubicBezTo>
                  <a:pt x="279582" y="101547"/>
                  <a:pt x="333066" y="101547"/>
                  <a:pt x="366068" y="68565"/>
                </a:cubicBezTo>
                <a:lnTo>
                  <a:pt x="357840" y="60338"/>
                </a:lnTo>
                <a:cubicBezTo>
                  <a:pt x="357847" y="60330"/>
                  <a:pt x="357855" y="60322"/>
                  <a:pt x="357862" y="60315"/>
                </a:cubicBezTo>
                <a:lnTo>
                  <a:pt x="357885" y="60293"/>
                </a:lnTo>
                <a:lnTo>
                  <a:pt x="366113" y="68520"/>
                </a:lnTo>
                <a:cubicBezTo>
                  <a:pt x="384872" y="49750"/>
                  <a:pt x="392961" y="24354"/>
                  <a:pt x="389142" y="0"/>
                </a:cubicBezTo>
                <a:lnTo>
                  <a:pt x="397337" y="0"/>
                </a:lnTo>
                <a:cubicBezTo>
                  <a:pt x="401479" y="11094"/>
                  <a:pt x="400548" y="22668"/>
                  <a:pt x="397481" y="33790"/>
                </a:cubicBezTo>
                <a:cubicBezTo>
                  <a:pt x="407439" y="50142"/>
                  <a:pt x="423417" y="53932"/>
                  <a:pt x="449401" y="53433"/>
                </a:cubicBezTo>
                <a:cubicBezTo>
                  <a:pt x="482408" y="53434"/>
                  <a:pt x="511746" y="69140"/>
                  <a:pt x="530035" y="93727"/>
                </a:cubicBezTo>
                <a:cubicBezTo>
                  <a:pt x="546543" y="90718"/>
                  <a:pt x="562165" y="82561"/>
                  <a:pt x="574926" y="69800"/>
                </a:cubicBezTo>
                <a:cubicBezTo>
                  <a:pt x="591833" y="52893"/>
                  <a:pt x="600659" y="30964"/>
                  <a:pt x="601147" y="8808"/>
                </a:cubicBezTo>
                <a:lnTo>
                  <a:pt x="515982" y="8808"/>
                </a:lnTo>
                <a:lnTo>
                  <a:pt x="515981" y="8744"/>
                </a:lnTo>
                <a:lnTo>
                  <a:pt x="601147" y="8744"/>
                </a:lnTo>
                <a:lnTo>
                  <a:pt x="599275" y="0"/>
                </a:lnTo>
                <a:lnTo>
                  <a:pt x="610820" y="0"/>
                </a:lnTo>
                <a:cubicBezTo>
                  <a:pt x="612423" y="2826"/>
                  <a:pt x="612602" y="5800"/>
                  <a:pt x="612648" y="877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31" name="Teardrop 3"/>
          <p:cNvSpPr/>
          <p:nvPr/>
        </p:nvSpPr>
        <p:spPr>
          <a:xfrm rot="5400000" flipH="1" flipV="1">
            <a:off x="104064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32" name="Teardrop 3"/>
          <p:cNvSpPr/>
          <p:nvPr/>
        </p:nvSpPr>
        <p:spPr>
          <a:xfrm rot="5400000" flipH="1" flipV="1">
            <a:off x="167255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33" name="Teardrop 3"/>
          <p:cNvSpPr/>
          <p:nvPr/>
        </p:nvSpPr>
        <p:spPr>
          <a:xfrm rot="5400000" flipH="1" flipV="1">
            <a:off x="230445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34" name="Teardrop 3"/>
          <p:cNvSpPr/>
          <p:nvPr/>
        </p:nvSpPr>
        <p:spPr>
          <a:xfrm rot="5400000" flipH="1" flipV="1">
            <a:off x="293636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35" name="Teardrop 3"/>
          <p:cNvSpPr/>
          <p:nvPr/>
        </p:nvSpPr>
        <p:spPr>
          <a:xfrm rot="5400000" flipH="1" flipV="1">
            <a:off x="356826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36" name="Teardrop 3"/>
          <p:cNvSpPr/>
          <p:nvPr/>
        </p:nvSpPr>
        <p:spPr>
          <a:xfrm rot="5400000" flipH="1" flipV="1">
            <a:off x="420017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37" name="Teardrop 3"/>
          <p:cNvSpPr/>
          <p:nvPr/>
        </p:nvSpPr>
        <p:spPr>
          <a:xfrm rot="5400000" flipH="1" flipV="1">
            <a:off x="609588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38" name="Teardrop 3"/>
          <p:cNvSpPr/>
          <p:nvPr/>
        </p:nvSpPr>
        <p:spPr>
          <a:xfrm rot="5400000" flipH="1" flipV="1">
            <a:off x="546398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39" name="Teardrop 3"/>
          <p:cNvSpPr/>
          <p:nvPr/>
        </p:nvSpPr>
        <p:spPr>
          <a:xfrm rot="5400000" flipH="1" flipV="1">
            <a:off x="7359699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40" name="Teardrop 3"/>
          <p:cNvSpPr/>
          <p:nvPr/>
        </p:nvSpPr>
        <p:spPr>
          <a:xfrm rot="5400000" flipH="1" flipV="1">
            <a:off x="672779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41" name="Teardrop 3"/>
          <p:cNvSpPr/>
          <p:nvPr/>
        </p:nvSpPr>
        <p:spPr>
          <a:xfrm rot="5400000" flipH="1" flipV="1">
            <a:off x="8623508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42" name="Teardrop 3"/>
          <p:cNvSpPr/>
          <p:nvPr/>
        </p:nvSpPr>
        <p:spPr>
          <a:xfrm rot="5400000" flipH="1" flipV="1">
            <a:off x="799160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43" name="Teardrop 3"/>
          <p:cNvSpPr/>
          <p:nvPr/>
        </p:nvSpPr>
        <p:spPr>
          <a:xfrm rot="5400000" flipH="1" flipV="1">
            <a:off x="408744" y="2617866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44" name="Oval 843"/>
          <p:cNvSpPr/>
          <p:nvPr/>
        </p:nvSpPr>
        <p:spPr>
          <a:xfrm>
            <a:off x="499838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45" name="Oval 844"/>
          <p:cNvSpPr/>
          <p:nvPr/>
        </p:nvSpPr>
        <p:spPr>
          <a:xfrm>
            <a:off x="57504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46" name="Oval 845"/>
          <p:cNvSpPr/>
          <p:nvPr/>
        </p:nvSpPr>
        <p:spPr>
          <a:xfrm>
            <a:off x="120695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47" name="Oval 846"/>
          <p:cNvSpPr/>
          <p:nvPr/>
        </p:nvSpPr>
        <p:spPr>
          <a:xfrm>
            <a:off x="183885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48" name="Oval 847"/>
          <p:cNvSpPr/>
          <p:nvPr/>
        </p:nvSpPr>
        <p:spPr>
          <a:xfrm>
            <a:off x="247076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49" name="Oval 848"/>
          <p:cNvSpPr/>
          <p:nvPr/>
        </p:nvSpPr>
        <p:spPr>
          <a:xfrm>
            <a:off x="310266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50" name="Oval 849"/>
          <p:cNvSpPr/>
          <p:nvPr/>
        </p:nvSpPr>
        <p:spPr>
          <a:xfrm>
            <a:off x="373457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51" name="Oval 850"/>
          <p:cNvSpPr/>
          <p:nvPr/>
        </p:nvSpPr>
        <p:spPr>
          <a:xfrm>
            <a:off x="436647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52" name="Oval 851"/>
          <p:cNvSpPr/>
          <p:nvPr/>
        </p:nvSpPr>
        <p:spPr>
          <a:xfrm>
            <a:off x="626219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53" name="Oval 852"/>
          <p:cNvSpPr/>
          <p:nvPr/>
        </p:nvSpPr>
        <p:spPr>
          <a:xfrm>
            <a:off x="563028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54" name="Oval 853"/>
          <p:cNvSpPr/>
          <p:nvPr/>
        </p:nvSpPr>
        <p:spPr>
          <a:xfrm>
            <a:off x="7526004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55" name="Oval 854"/>
          <p:cNvSpPr/>
          <p:nvPr/>
        </p:nvSpPr>
        <p:spPr>
          <a:xfrm>
            <a:off x="689409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56" name="Oval 855"/>
          <p:cNvSpPr/>
          <p:nvPr/>
        </p:nvSpPr>
        <p:spPr>
          <a:xfrm>
            <a:off x="8789813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57" name="Oval 856"/>
          <p:cNvSpPr/>
          <p:nvPr/>
        </p:nvSpPr>
        <p:spPr>
          <a:xfrm>
            <a:off x="8157909" y="2784484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58" name="Teardrop 3"/>
          <p:cNvSpPr/>
          <p:nvPr/>
        </p:nvSpPr>
        <p:spPr>
          <a:xfrm rot="5400000" flipH="1" flipV="1">
            <a:off x="4515886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59" name="Teardrop 3"/>
          <p:cNvSpPr/>
          <p:nvPr/>
        </p:nvSpPr>
        <p:spPr>
          <a:xfrm rot="5400000" flipH="1" flipV="1">
            <a:off x="724457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60" name="Teardrop 3"/>
          <p:cNvSpPr/>
          <p:nvPr/>
        </p:nvSpPr>
        <p:spPr>
          <a:xfrm rot="5400000" flipH="1" flipV="1">
            <a:off x="135636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61" name="Teardrop 3"/>
          <p:cNvSpPr/>
          <p:nvPr/>
        </p:nvSpPr>
        <p:spPr>
          <a:xfrm rot="5400000" flipH="1" flipV="1">
            <a:off x="1988267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62" name="Teardrop 3"/>
          <p:cNvSpPr/>
          <p:nvPr/>
        </p:nvSpPr>
        <p:spPr>
          <a:xfrm rot="5400000" flipH="1" flipV="1">
            <a:off x="262017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63" name="Teardrop 3"/>
          <p:cNvSpPr/>
          <p:nvPr/>
        </p:nvSpPr>
        <p:spPr>
          <a:xfrm rot="5400000" flipH="1" flipV="1">
            <a:off x="3252077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64" name="Teardrop 3"/>
          <p:cNvSpPr/>
          <p:nvPr/>
        </p:nvSpPr>
        <p:spPr>
          <a:xfrm rot="5400000" flipH="1" flipV="1">
            <a:off x="388398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65" name="Teardrop 3"/>
          <p:cNvSpPr/>
          <p:nvPr/>
        </p:nvSpPr>
        <p:spPr>
          <a:xfrm rot="5400000" flipH="1" flipV="1">
            <a:off x="5779697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66" name="Teardrop 3"/>
          <p:cNvSpPr/>
          <p:nvPr/>
        </p:nvSpPr>
        <p:spPr>
          <a:xfrm rot="5400000" flipH="1" flipV="1">
            <a:off x="514779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67" name="Teardrop 3"/>
          <p:cNvSpPr/>
          <p:nvPr/>
        </p:nvSpPr>
        <p:spPr>
          <a:xfrm rot="5400000" flipH="1" flipV="1">
            <a:off x="7043507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68" name="Teardrop 3"/>
          <p:cNvSpPr/>
          <p:nvPr/>
        </p:nvSpPr>
        <p:spPr>
          <a:xfrm rot="5400000" flipH="1" flipV="1">
            <a:off x="641160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69" name="Teardrop 3"/>
          <p:cNvSpPr/>
          <p:nvPr/>
        </p:nvSpPr>
        <p:spPr>
          <a:xfrm rot="5400000" flipH="1" flipV="1">
            <a:off x="8307316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70" name="Teardrop 3"/>
          <p:cNvSpPr/>
          <p:nvPr/>
        </p:nvSpPr>
        <p:spPr>
          <a:xfrm rot="5400000" flipH="1" flipV="1">
            <a:off x="767541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71" name="Teardrop 3"/>
          <p:cNvSpPr/>
          <p:nvPr/>
        </p:nvSpPr>
        <p:spPr>
          <a:xfrm rot="5400000" flipH="1" flipV="1">
            <a:off x="92552" y="2935938"/>
            <a:ext cx="459486" cy="459486"/>
          </a:xfrm>
          <a:custGeom>
            <a:avLst/>
            <a:gdLst/>
            <a:ahLst/>
            <a:cxnLst/>
            <a:rect l="l" t="t" r="r" b="b"/>
            <a:pathLst>
              <a:path w="3699724" h="3699725">
                <a:moveTo>
                  <a:pt x="1619273" y="1327910"/>
                </a:moveTo>
                <a:cubicBezTo>
                  <a:pt x="1539798" y="1250266"/>
                  <a:pt x="1508187" y="1104450"/>
                  <a:pt x="1510397" y="989239"/>
                </a:cubicBezTo>
                <a:cubicBezTo>
                  <a:pt x="1510398" y="687181"/>
                  <a:pt x="1265529" y="442312"/>
                  <a:pt x="963471" y="442313"/>
                </a:cubicBezTo>
                <a:cubicBezTo>
                  <a:pt x="819078" y="442312"/>
                  <a:pt x="687752" y="498269"/>
                  <a:pt x="591059" y="590790"/>
                </a:cubicBezTo>
                <a:lnTo>
                  <a:pt x="1445896" y="1445628"/>
                </a:lnTo>
                <a:cubicBezTo>
                  <a:pt x="1497333" y="1394206"/>
                  <a:pt x="1556141" y="1354647"/>
                  <a:pt x="1619273" y="1327910"/>
                </a:cubicBezTo>
                <a:close/>
                <a:moveTo>
                  <a:pt x="1327906" y="1619277"/>
                </a:moveTo>
                <a:cubicBezTo>
                  <a:pt x="1354643" y="1556145"/>
                  <a:pt x="1394202" y="1497337"/>
                  <a:pt x="1445624" y="1445900"/>
                </a:cubicBezTo>
                <a:lnTo>
                  <a:pt x="590784" y="591062"/>
                </a:lnTo>
                <a:cubicBezTo>
                  <a:pt x="498263" y="687756"/>
                  <a:pt x="442308" y="819081"/>
                  <a:pt x="442308" y="963474"/>
                </a:cubicBezTo>
                <a:cubicBezTo>
                  <a:pt x="442308" y="1265532"/>
                  <a:pt x="687175" y="1510401"/>
                  <a:pt x="989234" y="1510401"/>
                </a:cubicBezTo>
                <a:cubicBezTo>
                  <a:pt x="1104445" y="1508191"/>
                  <a:pt x="1250262" y="1539802"/>
                  <a:pt x="1327906" y="1619277"/>
                </a:cubicBezTo>
                <a:close/>
                <a:moveTo>
                  <a:pt x="1276350" y="2033081"/>
                </a:moveTo>
                <a:cubicBezTo>
                  <a:pt x="1285057" y="2022843"/>
                  <a:pt x="1293143" y="2011498"/>
                  <a:pt x="1300657" y="1998947"/>
                </a:cubicBezTo>
                <a:cubicBezTo>
                  <a:pt x="1272796" y="1900893"/>
                  <a:pt x="1272313" y="1796942"/>
                  <a:pt x="1299372" y="1698816"/>
                </a:cubicBezTo>
                <a:cubicBezTo>
                  <a:pt x="1239239" y="1600065"/>
                  <a:pt x="1142748" y="1577177"/>
                  <a:pt x="985834" y="1580187"/>
                </a:cubicBezTo>
                <a:cubicBezTo>
                  <a:pt x="786506" y="1580187"/>
                  <a:pt x="609333" y="1485334"/>
                  <a:pt x="498888" y="1336851"/>
                </a:cubicBezTo>
                <a:cubicBezTo>
                  <a:pt x="399199" y="1355025"/>
                  <a:pt x="304862" y="1404283"/>
                  <a:pt x="227800" y="1481345"/>
                </a:cubicBezTo>
                <a:cubicBezTo>
                  <a:pt x="125698" y="1583447"/>
                  <a:pt x="72404" y="1715874"/>
                  <a:pt x="69454" y="1849669"/>
                </a:cubicBezTo>
                <a:lnTo>
                  <a:pt x="583761" y="1849669"/>
                </a:lnTo>
                <a:lnTo>
                  <a:pt x="583765" y="1850056"/>
                </a:lnTo>
                <a:lnTo>
                  <a:pt x="69453" y="1850056"/>
                </a:lnTo>
                <a:cubicBezTo>
                  <a:pt x="72403" y="1983852"/>
                  <a:pt x="125698" y="2116279"/>
                  <a:pt x="227799" y="2218380"/>
                </a:cubicBezTo>
                <a:cubicBezTo>
                  <a:pt x="304828" y="2295410"/>
                  <a:pt x="399119" y="2344659"/>
                  <a:pt x="498762" y="2363033"/>
                </a:cubicBezTo>
                <a:cubicBezTo>
                  <a:pt x="609207" y="2214464"/>
                  <a:pt x="786436" y="2119544"/>
                  <a:pt x="985834" y="2119544"/>
                </a:cubicBezTo>
                <a:cubicBezTo>
                  <a:pt x="1124065" y="2122196"/>
                  <a:pt x="1215404" y="2104750"/>
                  <a:pt x="1276350" y="2033081"/>
                </a:cubicBezTo>
                <a:close/>
                <a:moveTo>
                  <a:pt x="2033078" y="1276353"/>
                </a:moveTo>
                <a:cubicBezTo>
                  <a:pt x="2104746" y="1215407"/>
                  <a:pt x="2122193" y="1124068"/>
                  <a:pt x="2119541" y="985837"/>
                </a:cubicBezTo>
                <a:cubicBezTo>
                  <a:pt x="2119541" y="786437"/>
                  <a:pt x="2214463" y="609207"/>
                  <a:pt x="2363033" y="498763"/>
                </a:cubicBezTo>
                <a:cubicBezTo>
                  <a:pt x="2344659" y="399120"/>
                  <a:pt x="2295410" y="304828"/>
                  <a:pt x="2218380" y="227799"/>
                </a:cubicBezTo>
                <a:cubicBezTo>
                  <a:pt x="2116279" y="125698"/>
                  <a:pt x="1983852" y="72403"/>
                  <a:pt x="1850056" y="69453"/>
                </a:cubicBezTo>
                <a:lnTo>
                  <a:pt x="1850055" y="583765"/>
                </a:lnTo>
                <a:lnTo>
                  <a:pt x="1849669" y="583761"/>
                </a:lnTo>
                <a:lnTo>
                  <a:pt x="1849669" y="69454"/>
                </a:lnTo>
                <a:cubicBezTo>
                  <a:pt x="1715874" y="72405"/>
                  <a:pt x="1583446" y="125699"/>
                  <a:pt x="1481345" y="227800"/>
                </a:cubicBezTo>
                <a:cubicBezTo>
                  <a:pt x="1404281" y="304864"/>
                  <a:pt x="1355022" y="399204"/>
                  <a:pt x="1336849" y="498895"/>
                </a:cubicBezTo>
                <a:cubicBezTo>
                  <a:pt x="1485331" y="609340"/>
                  <a:pt x="1580182" y="786513"/>
                  <a:pt x="1580182" y="985839"/>
                </a:cubicBezTo>
                <a:cubicBezTo>
                  <a:pt x="1577172" y="1142752"/>
                  <a:pt x="1600060" y="1239243"/>
                  <a:pt x="1698811" y="1299376"/>
                </a:cubicBezTo>
                <a:cubicBezTo>
                  <a:pt x="1796937" y="1272317"/>
                  <a:pt x="1900888" y="1272800"/>
                  <a:pt x="1998943" y="1300661"/>
                </a:cubicBezTo>
                <a:cubicBezTo>
                  <a:pt x="2011494" y="1293147"/>
                  <a:pt x="2022839" y="1285060"/>
                  <a:pt x="2033078" y="1276353"/>
                </a:cubicBezTo>
                <a:close/>
                <a:moveTo>
                  <a:pt x="1445628" y="2253827"/>
                </a:moveTo>
                <a:cubicBezTo>
                  <a:pt x="1394179" y="2202371"/>
                  <a:pt x="1354607" y="2143534"/>
                  <a:pt x="1328220" y="2080145"/>
                </a:cubicBezTo>
                <a:cubicBezTo>
                  <a:pt x="1250650" y="2159845"/>
                  <a:pt x="1104599" y="2191543"/>
                  <a:pt x="989234" y="2189330"/>
                </a:cubicBezTo>
                <a:cubicBezTo>
                  <a:pt x="687176" y="2189329"/>
                  <a:pt x="442308" y="2434198"/>
                  <a:pt x="442308" y="2736256"/>
                </a:cubicBezTo>
                <a:cubicBezTo>
                  <a:pt x="442308" y="2880649"/>
                  <a:pt x="498263" y="3011974"/>
                  <a:pt x="590785" y="3108668"/>
                </a:cubicBezTo>
                <a:close/>
                <a:moveTo>
                  <a:pt x="2253823" y="1445631"/>
                </a:moveTo>
                <a:lnTo>
                  <a:pt x="3108665" y="590788"/>
                </a:lnTo>
                <a:cubicBezTo>
                  <a:pt x="3011971" y="498266"/>
                  <a:pt x="2880646" y="442311"/>
                  <a:pt x="2736253" y="442311"/>
                </a:cubicBezTo>
                <a:cubicBezTo>
                  <a:pt x="2434195" y="442311"/>
                  <a:pt x="2189326" y="687179"/>
                  <a:pt x="2189327" y="989237"/>
                </a:cubicBezTo>
                <a:cubicBezTo>
                  <a:pt x="2191540" y="1104602"/>
                  <a:pt x="2159841" y="1250654"/>
                  <a:pt x="2080141" y="1328224"/>
                </a:cubicBezTo>
                <a:cubicBezTo>
                  <a:pt x="2143530" y="1354611"/>
                  <a:pt x="2202368" y="1394182"/>
                  <a:pt x="2253823" y="1445631"/>
                </a:cubicBezTo>
                <a:close/>
                <a:moveTo>
                  <a:pt x="2210921" y="2210652"/>
                </a:moveTo>
                <a:cubicBezTo>
                  <a:pt x="2410093" y="2011361"/>
                  <a:pt x="2410093" y="1688371"/>
                  <a:pt x="2210920" y="1489079"/>
                </a:cubicBezTo>
                <a:lnTo>
                  <a:pt x="2161236" y="1538763"/>
                </a:lnTo>
                <a:lnTo>
                  <a:pt x="2161096" y="1538632"/>
                </a:lnTo>
                <a:cubicBezTo>
                  <a:pt x="2161051" y="1538585"/>
                  <a:pt x="2161005" y="1538541"/>
                  <a:pt x="2160964" y="1538490"/>
                </a:cubicBezTo>
                <a:lnTo>
                  <a:pt x="2210648" y="1488807"/>
                </a:lnTo>
                <a:cubicBezTo>
                  <a:pt x="2011356" y="1289635"/>
                  <a:pt x="1688367" y="1289636"/>
                  <a:pt x="1489076" y="1488807"/>
                </a:cubicBezTo>
                <a:lnTo>
                  <a:pt x="1538760" y="1538491"/>
                </a:lnTo>
                <a:cubicBezTo>
                  <a:pt x="1538719" y="1538541"/>
                  <a:pt x="1538673" y="1538585"/>
                  <a:pt x="1538628" y="1538631"/>
                </a:cubicBezTo>
                <a:cubicBezTo>
                  <a:pt x="1538582" y="1538676"/>
                  <a:pt x="1538537" y="1538722"/>
                  <a:pt x="1538487" y="1538763"/>
                </a:cubicBezTo>
                <a:lnTo>
                  <a:pt x="1488803" y="1489080"/>
                </a:lnTo>
                <a:cubicBezTo>
                  <a:pt x="1289632" y="1688371"/>
                  <a:pt x="1289632" y="2011360"/>
                  <a:pt x="1488803" y="2210652"/>
                </a:cubicBezTo>
                <a:lnTo>
                  <a:pt x="1538488" y="2160967"/>
                </a:lnTo>
                <a:cubicBezTo>
                  <a:pt x="1538538" y="2161008"/>
                  <a:pt x="1538582" y="2161054"/>
                  <a:pt x="1538629" y="2161099"/>
                </a:cubicBezTo>
                <a:lnTo>
                  <a:pt x="1538760" y="2161239"/>
                </a:lnTo>
                <a:lnTo>
                  <a:pt x="1489075" y="2210924"/>
                </a:lnTo>
                <a:cubicBezTo>
                  <a:pt x="1688367" y="2410097"/>
                  <a:pt x="2011356" y="2410097"/>
                  <a:pt x="2210648" y="2210925"/>
                </a:cubicBezTo>
                <a:lnTo>
                  <a:pt x="2160963" y="2161240"/>
                </a:lnTo>
                <a:cubicBezTo>
                  <a:pt x="2161005" y="2161190"/>
                  <a:pt x="2161050" y="2161145"/>
                  <a:pt x="2161095" y="2161099"/>
                </a:cubicBezTo>
                <a:lnTo>
                  <a:pt x="2161236" y="2160967"/>
                </a:lnTo>
                <a:close/>
                <a:moveTo>
                  <a:pt x="1350206" y="3097227"/>
                </a:moveTo>
                <a:cubicBezTo>
                  <a:pt x="1449181" y="2998253"/>
                  <a:pt x="1510398" y="2861521"/>
                  <a:pt x="1510397" y="2710492"/>
                </a:cubicBezTo>
                <a:cubicBezTo>
                  <a:pt x="1508185" y="2595128"/>
                  <a:pt x="1539883" y="2449078"/>
                  <a:pt x="1619582" y="2371508"/>
                </a:cubicBezTo>
                <a:cubicBezTo>
                  <a:pt x="1556193" y="2345120"/>
                  <a:pt x="1497356" y="2305548"/>
                  <a:pt x="1445900" y="2254099"/>
                </a:cubicBezTo>
                <a:lnTo>
                  <a:pt x="591059" y="3108941"/>
                </a:lnTo>
                <a:cubicBezTo>
                  <a:pt x="687753" y="3201462"/>
                  <a:pt x="819078" y="3257418"/>
                  <a:pt x="963471" y="3257418"/>
                </a:cubicBezTo>
                <a:cubicBezTo>
                  <a:pt x="1114500" y="3257418"/>
                  <a:pt x="1251232" y="3196201"/>
                  <a:pt x="1350206" y="3097227"/>
                </a:cubicBezTo>
                <a:close/>
                <a:moveTo>
                  <a:pt x="3097224" y="1350209"/>
                </a:moveTo>
                <a:cubicBezTo>
                  <a:pt x="3196198" y="1251235"/>
                  <a:pt x="3257415" y="1114503"/>
                  <a:pt x="3257415" y="963474"/>
                </a:cubicBezTo>
                <a:cubicBezTo>
                  <a:pt x="3257415" y="819081"/>
                  <a:pt x="3201459" y="687756"/>
                  <a:pt x="3108938" y="591062"/>
                </a:cubicBezTo>
                <a:lnTo>
                  <a:pt x="2254096" y="1445904"/>
                </a:lnTo>
                <a:cubicBezTo>
                  <a:pt x="2305545" y="1497359"/>
                  <a:pt x="2345117" y="1556196"/>
                  <a:pt x="2371504" y="1619586"/>
                </a:cubicBezTo>
                <a:cubicBezTo>
                  <a:pt x="2449074" y="1539886"/>
                  <a:pt x="2595125" y="1508188"/>
                  <a:pt x="2710489" y="1510400"/>
                </a:cubicBezTo>
                <a:cubicBezTo>
                  <a:pt x="2861518" y="1510401"/>
                  <a:pt x="2998250" y="1449184"/>
                  <a:pt x="3097224" y="1350209"/>
                </a:cubicBezTo>
                <a:close/>
                <a:moveTo>
                  <a:pt x="2218380" y="3471925"/>
                </a:moveTo>
                <a:cubicBezTo>
                  <a:pt x="2295441" y="3394863"/>
                  <a:pt x="2344700" y="3300526"/>
                  <a:pt x="2362874" y="3200838"/>
                </a:cubicBezTo>
                <a:cubicBezTo>
                  <a:pt x="2214392" y="3090392"/>
                  <a:pt x="2119540" y="2913220"/>
                  <a:pt x="2119540" y="2713893"/>
                </a:cubicBezTo>
                <a:cubicBezTo>
                  <a:pt x="2122550" y="2556979"/>
                  <a:pt x="2099662" y="2460490"/>
                  <a:pt x="2000913" y="2400356"/>
                </a:cubicBezTo>
                <a:cubicBezTo>
                  <a:pt x="1902786" y="2427415"/>
                  <a:pt x="1798834" y="2426932"/>
                  <a:pt x="1700778" y="2399071"/>
                </a:cubicBezTo>
                <a:cubicBezTo>
                  <a:pt x="1600372" y="2459185"/>
                  <a:pt x="1577152" y="2555917"/>
                  <a:pt x="1580182" y="2713892"/>
                </a:cubicBezTo>
                <a:cubicBezTo>
                  <a:pt x="1580183" y="2883675"/>
                  <a:pt x="1511364" y="3037385"/>
                  <a:pt x="1400099" y="3148650"/>
                </a:cubicBezTo>
                <a:lnTo>
                  <a:pt x="1336693" y="3200965"/>
                </a:lnTo>
                <a:cubicBezTo>
                  <a:pt x="1355067" y="3300607"/>
                  <a:pt x="1404316" y="3394897"/>
                  <a:pt x="1481344" y="3471926"/>
                </a:cubicBezTo>
                <a:cubicBezTo>
                  <a:pt x="1583446" y="3574027"/>
                  <a:pt x="1715873" y="3627322"/>
                  <a:pt x="1849669" y="3630272"/>
                </a:cubicBezTo>
                <a:lnTo>
                  <a:pt x="1849669" y="3115960"/>
                </a:lnTo>
                <a:lnTo>
                  <a:pt x="1850055" y="3115964"/>
                </a:lnTo>
                <a:lnTo>
                  <a:pt x="1850055" y="3630271"/>
                </a:lnTo>
                <a:cubicBezTo>
                  <a:pt x="1983851" y="3627320"/>
                  <a:pt x="2116278" y="3574026"/>
                  <a:pt x="2218380" y="3471925"/>
                </a:cubicBezTo>
                <a:close/>
                <a:moveTo>
                  <a:pt x="3471925" y="2218380"/>
                </a:moveTo>
                <a:cubicBezTo>
                  <a:pt x="3574026" y="2116278"/>
                  <a:pt x="3627320" y="1983851"/>
                  <a:pt x="3630271" y="1850056"/>
                </a:cubicBezTo>
                <a:lnTo>
                  <a:pt x="3115964" y="1850056"/>
                </a:lnTo>
                <a:lnTo>
                  <a:pt x="3115960" y="1849669"/>
                </a:lnTo>
                <a:lnTo>
                  <a:pt x="3630272" y="1849669"/>
                </a:lnTo>
                <a:cubicBezTo>
                  <a:pt x="3627322" y="1715873"/>
                  <a:pt x="3574027" y="1583446"/>
                  <a:pt x="3471926" y="1481345"/>
                </a:cubicBezTo>
                <a:cubicBezTo>
                  <a:pt x="3394897" y="1404316"/>
                  <a:pt x="3300607" y="1355067"/>
                  <a:pt x="3200965" y="1336693"/>
                </a:cubicBezTo>
                <a:cubicBezTo>
                  <a:pt x="3186174" y="1359992"/>
                  <a:pt x="3168056" y="1380693"/>
                  <a:pt x="3148647" y="1400102"/>
                </a:cubicBezTo>
                <a:cubicBezTo>
                  <a:pt x="3037382" y="1511367"/>
                  <a:pt x="2883672" y="1580186"/>
                  <a:pt x="2713889" y="1580185"/>
                </a:cubicBezTo>
                <a:cubicBezTo>
                  <a:pt x="2555913" y="1577155"/>
                  <a:pt x="2459181" y="1600375"/>
                  <a:pt x="2399067" y="1700783"/>
                </a:cubicBezTo>
                <a:cubicBezTo>
                  <a:pt x="2426929" y="1798838"/>
                  <a:pt x="2427411" y="1902791"/>
                  <a:pt x="2400352" y="2000918"/>
                </a:cubicBezTo>
                <a:cubicBezTo>
                  <a:pt x="2460486" y="2099667"/>
                  <a:pt x="2556976" y="2122555"/>
                  <a:pt x="2713888" y="2119545"/>
                </a:cubicBezTo>
                <a:cubicBezTo>
                  <a:pt x="2913213" y="2119545"/>
                  <a:pt x="3090385" y="2214395"/>
                  <a:pt x="3200830" y="2362876"/>
                </a:cubicBezTo>
                <a:cubicBezTo>
                  <a:pt x="3300521" y="2344703"/>
                  <a:pt x="3394861" y="2295444"/>
                  <a:pt x="3471925" y="2218380"/>
                </a:cubicBezTo>
                <a:close/>
                <a:moveTo>
                  <a:pt x="3108937" y="3108668"/>
                </a:moveTo>
                <a:cubicBezTo>
                  <a:pt x="3201458" y="3011974"/>
                  <a:pt x="3257415" y="2880649"/>
                  <a:pt x="3257414" y="2736256"/>
                </a:cubicBezTo>
                <a:cubicBezTo>
                  <a:pt x="3257415" y="2434198"/>
                  <a:pt x="3012546" y="2189329"/>
                  <a:pt x="2710488" y="2189330"/>
                </a:cubicBezTo>
                <a:cubicBezTo>
                  <a:pt x="2595278" y="2191540"/>
                  <a:pt x="2449463" y="2159929"/>
                  <a:pt x="2371818" y="2080456"/>
                </a:cubicBezTo>
                <a:cubicBezTo>
                  <a:pt x="2345082" y="2143588"/>
                  <a:pt x="2305522" y="2202395"/>
                  <a:pt x="2254101" y="2253832"/>
                </a:cubicBezTo>
                <a:close/>
                <a:moveTo>
                  <a:pt x="3108664" y="3108942"/>
                </a:moveTo>
                <a:lnTo>
                  <a:pt x="2253828" y="2254105"/>
                </a:lnTo>
                <a:cubicBezTo>
                  <a:pt x="2202391" y="2305526"/>
                  <a:pt x="2143583" y="2345086"/>
                  <a:pt x="2080451" y="2371822"/>
                </a:cubicBezTo>
                <a:cubicBezTo>
                  <a:pt x="2159925" y="2449467"/>
                  <a:pt x="2191536" y="2595283"/>
                  <a:pt x="2189326" y="2710493"/>
                </a:cubicBezTo>
                <a:cubicBezTo>
                  <a:pt x="2189325" y="3012551"/>
                  <a:pt x="2434195" y="3257419"/>
                  <a:pt x="2736252" y="3257419"/>
                </a:cubicBezTo>
                <a:cubicBezTo>
                  <a:pt x="2880646" y="3257419"/>
                  <a:pt x="3011971" y="3201464"/>
                  <a:pt x="3108664" y="3108942"/>
                </a:cubicBezTo>
                <a:close/>
                <a:moveTo>
                  <a:pt x="3157911" y="3157916"/>
                </a:moveTo>
                <a:cubicBezTo>
                  <a:pt x="3048404" y="3264084"/>
                  <a:pt x="2898943" y="3328734"/>
                  <a:pt x="2734381" y="3328734"/>
                </a:cubicBezTo>
                <a:cubicBezTo>
                  <a:pt x="2622038" y="3328734"/>
                  <a:pt x="2516732" y="3298603"/>
                  <a:pt x="2427424" y="3243706"/>
                </a:cubicBezTo>
                <a:cubicBezTo>
                  <a:pt x="2402826" y="3345640"/>
                  <a:pt x="2349644" y="3441515"/>
                  <a:pt x="2270129" y="3521030"/>
                </a:cubicBezTo>
                <a:cubicBezTo>
                  <a:pt x="2153768" y="3637392"/>
                  <a:pt x="2002368" y="3697364"/>
                  <a:pt x="1849862" y="3699724"/>
                </a:cubicBezTo>
                <a:lnTo>
                  <a:pt x="1849862" y="3699725"/>
                </a:lnTo>
                <a:cubicBezTo>
                  <a:pt x="1697356" y="3697364"/>
                  <a:pt x="1545956" y="3637392"/>
                  <a:pt x="1429594" y="3521030"/>
                </a:cubicBezTo>
                <a:cubicBezTo>
                  <a:pt x="1350121" y="3441556"/>
                  <a:pt x="1296952" y="3345738"/>
                  <a:pt x="1271854" y="3243947"/>
                </a:cubicBezTo>
                <a:cubicBezTo>
                  <a:pt x="1182651" y="3298700"/>
                  <a:pt x="1077504" y="3328733"/>
                  <a:pt x="965342" y="3328733"/>
                </a:cubicBezTo>
                <a:cubicBezTo>
                  <a:pt x="800782" y="3328733"/>
                  <a:pt x="651319" y="3264084"/>
                  <a:pt x="541812" y="3157915"/>
                </a:cubicBezTo>
                <a:lnTo>
                  <a:pt x="541811" y="3157915"/>
                </a:lnTo>
                <a:cubicBezTo>
                  <a:pt x="435643" y="3048408"/>
                  <a:pt x="370993" y="2898946"/>
                  <a:pt x="370994" y="2734385"/>
                </a:cubicBezTo>
                <a:cubicBezTo>
                  <a:pt x="370994" y="2622223"/>
                  <a:pt x="401028" y="2517075"/>
                  <a:pt x="455781" y="2427871"/>
                </a:cubicBezTo>
                <a:cubicBezTo>
                  <a:pt x="353989" y="2402773"/>
                  <a:pt x="258170" y="2349604"/>
                  <a:pt x="178695" y="2270131"/>
                </a:cubicBezTo>
                <a:cubicBezTo>
                  <a:pt x="62332" y="2153769"/>
                  <a:pt x="2361" y="2002368"/>
                  <a:pt x="0" y="1849863"/>
                </a:cubicBezTo>
                <a:lnTo>
                  <a:pt x="1" y="1849862"/>
                </a:lnTo>
                <a:cubicBezTo>
                  <a:pt x="2361" y="1697357"/>
                  <a:pt x="62333" y="1545957"/>
                  <a:pt x="178695" y="1429596"/>
                </a:cubicBezTo>
                <a:cubicBezTo>
                  <a:pt x="258210" y="1350080"/>
                  <a:pt x="354086" y="1296898"/>
                  <a:pt x="456020" y="1272300"/>
                </a:cubicBezTo>
                <a:cubicBezTo>
                  <a:pt x="401124" y="1182994"/>
                  <a:pt x="370993" y="1077688"/>
                  <a:pt x="370993" y="965346"/>
                </a:cubicBezTo>
                <a:cubicBezTo>
                  <a:pt x="370993" y="800784"/>
                  <a:pt x="435643" y="651322"/>
                  <a:pt x="541811" y="541816"/>
                </a:cubicBezTo>
                <a:lnTo>
                  <a:pt x="541812" y="541815"/>
                </a:lnTo>
                <a:cubicBezTo>
                  <a:pt x="651319" y="435646"/>
                  <a:pt x="800781" y="370998"/>
                  <a:pt x="965341" y="370998"/>
                </a:cubicBezTo>
                <a:cubicBezTo>
                  <a:pt x="1077684" y="370998"/>
                  <a:pt x="1182991" y="401129"/>
                  <a:pt x="1272299" y="456026"/>
                </a:cubicBezTo>
                <a:cubicBezTo>
                  <a:pt x="1296896" y="354089"/>
                  <a:pt x="1350079" y="258211"/>
                  <a:pt x="1429596" y="178695"/>
                </a:cubicBezTo>
                <a:cubicBezTo>
                  <a:pt x="1545957" y="62333"/>
                  <a:pt x="1697356" y="2361"/>
                  <a:pt x="1849862" y="1"/>
                </a:cubicBezTo>
                <a:lnTo>
                  <a:pt x="1849863" y="0"/>
                </a:lnTo>
                <a:cubicBezTo>
                  <a:pt x="2002368" y="2361"/>
                  <a:pt x="2153768" y="62333"/>
                  <a:pt x="2270131" y="178695"/>
                </a:cubicBezTo>
                <a:cubicBezTo>
                  <a:pt x="2349605" y="258170"/>
                  <a:pt x="2402774" y="353990"/>
                  <a:pt x="2427871" y="455782"/>
                </a:cubicBezTo>
                <a:cubicBezTo>
                  <a:pt x="2517074" y="401030"/>
                  <a:pt x="2622221" y="370997"/>
                  <a:pt x="2734382" y="370997"/>
                </a:cubicBezTo>
                <a:cubicBezTo>
                  <a:pt x="2898943" y="370996"/>
                  <a:pt x="3048405" y="435646"/>
                  <a:pt x="3157912" y="541814"/>
                </a:cubicBezTo>
                <a:lnTo>
                  <a:pt x="3157912" y="541815"/>
                </a:lnTo>
                <a:cubicBezTo>
                  <a:pt x="3264081" y="651322"/>
                  <a:pt x="3328730" y="800785"/>
                  <a:pt x="3328730" y="965345"/>
                </a:cubicBezTo>
                <a:cubicBezTo>
                  <a:pt x="3328730" y="1077505"/>
                  <a:pt x="3298697" y="1182652"/>
                  <a:pt x="3243945" y="1271854"/>
                </a:cubicBezTo>
                <a:cubicBezTo>
                  <a:pt x="3345737" y="1296952"/>
                  <a:pt x="3441555" y="1350121"/>
                  <a:pt x="3521030" y="1429594"/>
                </a:cubicBezTo>
                <a:cubicBezTo>
                  <a:pt x="3637392" y="1545956"/>
                  <a:pt x="3697363" y="1697357"/>
                  <a:pt x="3699724" y="1849862"/>
                </a:cubicBezTo>
                <a:lnTo>
                  <a:pt x="3699724" y="1849862"/>
                </a:lnTo>
                <a:cubicBezTo>
                  <a:pt x="3697363" y="2002368"/>
                  <a:pt x="3637392" y="2153768"/>
                  <a:pt x="3521030" y="2270129"/>
                </a:cubicBezTo>
                <a:cubicBezTo>
                  <a:pt x="3441513" y="2349646"/>
                  <a:pt x="3345636" y="2402829"/>
                  <a:pt x="3243700" y="2427426"/>
                </a:cubicBezTo>
                <a:cubicBezTo>
                  <a:pt x="3298598" y="2516734"/>
                  <a:pt x="3328729" y="2622042"/>
                  <a:pt x="3328729" y="2734386"/>
                </a:cubicBezTo>
                <a:cubicBezTo>
                  <a:pt x="3328729" y="2898946"/>
                  <a:pt x="3264081" y="3048408"/>
                  <a:pt x="3157911" y="315791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72" name="Teardrop 3"/>
          <p:cNvSpPr/>
          <p:nvPr/>
        </p:nvSpPr>
        <p:spPr>
          <a:xfrm rot="5400000" flipH="1" flipV="1">
            <a:off x="8820002" y="3052452"/>
            <a:ext cx="446836" cy="201161"/>
          </a:xfrm>
          <a:custGeom>
            <a:avLst/>
            <a:gdLst/>
            <a:ahLst/>
            <a:cxnLst/>
            <a:rect l="l" t="t" r="r" b="b"/>
            <a:pathLst>
              <a:path w="595781" h="268215">
                <a:moveTo>
                  <a:pt x="230951" y="239431"/>
                </a:moveTo>
                <a:lnTo>
                  <a:pt x="89396" y="97876"/>
                </a:lnTo>
                <a:cubicBezTo>
                  <a:pt x="74075" y="113887"/>
                  <a:pt x="64809" y="135634"/>
                  <a:pt x="64809" y="159544"/>
                </a:cubicBezTo>
                <a:cubicBezTo>
                  <a:pt x="64809" y="209563"/>
                  <a:pt x="105358" y="250112"/>
                  <a:pt x="155376" y="250112"/>
                </a:cubicBezTo>
                <a:cubicBezTo>
                  <a:pt x="174455" y="249746"/>
                  <a:pt x="198601" y="254980"/>
                  <a:pt x="211458" y="268141"/>
                </a:cubicBezTo>
                <a:cubicBezTo>
                  <a:pt x="215886" y="257686"/>
                  <a:pt x="222436" y="247948"/>
                  <a:pt x="230951" y="239431"/>
                </a:cubicBezTo>
                <a:close/>
                <a:moveTo>
                  <a:pt x="259706" y="219892"/>
                </a:moveTo>
                <a:cubicBezTo>
                  <a:pt x="246546" y="207035"/>
                  <a:pt x="241311" y="182889"/>
                  <a:pt x="241677" y="163811"/>
                </a:cubicBezTo>
                <a:cubicBezTo>
                  <a:pt x="241677" y="113792"/>
                  <a:pt x="201129" y="73244"/>
                  <a:pt x="151110" y="73244"/>
                </a:cubicBezTo>
                <a:cubicBezTo>
                  <a:pt x="127200" y="73244"/>
                  <a:pt x="105453" y="82510"/>
                  <a:pt x="89441" y="97831"/>
                </a:cubicBezTo>
                <a:lnTo>
                  <a:pt x="230996" y="239386"/>
                </a:lnTo>
                <a:cubicBezTo>
                  <a:pt x="239514" y="230871"/>
                  <a:pt x="249252" y="224320"/>
                  <a:pt x="259706" y="219892"/>
                </a:cubicBezTo>
                <a:close/>
                <a:moveTo>
                  <a:pt x="382868" y="82592"/>
                </a:moveTo>
                <a:cubicBezTo>
                  <a:pt x="379825" y="66091"/>
                  <a:pt x="371670" y="50477"/>
                  <a:pt x="358914" y="37722"/>
                </a:cubicBezTo>
                <a:cubicBezTo>
                  <a:pt x="342007" y="20815"/>
                  <a:pt x="320078" y="11989"/>
                  <a:pt x="297922" y="11501"/>
                </a:cubicBezTo>
                <a:lnTo>
                  <a:pt x="297922" y="96667"/>
                </a:lnTo>
                <a:lnTo>
                  <a:pt x="297858" y="96667"/>
                </a:lnTo>
                <a:lnTo>
                  <a:pt x="297858" y="11501"/>
                </a:lnTo>
                <a:cubicBezTo>
                  <a:pt x="275703" y="11990"/>
                  <a:pt x="253774" y="20815"/>
                  <a:pt x="236866" y="37722"/>
                </a:cubicBezTo>
                <a:cubicBezTo>
                  <a:pt x="224105" y="50483"/>
                  <a:pt x="215948" y="66105"/>
                  <a:pt x="212939" y="82613"/>
                </a:cubicBezTo>
                <a:cubicBezTo>
                  <a:pt x="237527" y="100902"/>
                  <a:pt x="253233" y="130241"/>
                  <a:pt x="253233" y="163248"/>
                </a:cubicBezTo>
                <a:cubicBezTo>
                  <a:pt x="252735" y="189232"/>
                  <a:pt x="256525" y="205210"/>
                  <a:pt x="272877" y="215167"/>
                </a:cubicBezTo>
                <a:cubicBezTo>
                  <a:pt x="289126" y="210687"/>
                  <a:pt x="306340" y="210767"/>
                  <a:pt x="322577" y="215380"/>
                </a:cubicBezTo>
                <a:cubicBezTo>
                  <a:pt x="324655" y="214136"/>
                  <a:pt x="326534" y="212797"/>
                  <a:pt x="328229" y="211355"/>
                </a:cubicBezTo>
                <a:cubicBezTo>
                  <a:pt x="340097" y="201263"/>
                  <a:pt x="342986" y="186138"/>
                  <a:pt x="342547" y="163248"/>
                </a:cubicBezTo>
                <a:cubicBezTo>
                  <a:pt x="342547" y="130228"/>
                  <a:pt x="358265" y="100880"/>
                  <a:pt x="382868" y="82592"/>
                </a:cubicBezTo>
                <a:close/>
                <a:moveTo>
                  <a:pt x="506339" y="97830"/>
                </a:moveTo>
                <a:cubicBezTo>
                  <a:pt x="490327" y="82509"/>
                  <a:pt x="468581" y="73244"/>
                  <a:pt x="444670" y="73244"/>
                </a:cubicBezTo>
                <a:cubicBezTo>
                  <a:pt x="394652" y="73244"/>
                  <a:pt x="354103" y="113792"/>
                  <a:pt x="354103" y="163811"/>
                </a:cubicBezTo>
                <a:cubicBezTo>
                  <a:pt x="354470" y="182914"/>
                  <a:pt x="349220" y="207099"/>
                  <a:pt x="336023" y="219944"/>
                </a:cubicBezTo>
                <a:cubicBezTo>
                  <a:pt x="346519" y="224314"/>
                  <a:pt x="356263" y="230867"/>
                  <a:pt x="364783" y="239386"/>
                </a:cubicBezTo>
                <a:close/>
                <a:moveTo>
                  <a:pt x="530971" y="159544"/>
                </a:moveTo>
                <a:cubicBezTo>
                  <a:pt x="530971" y="135634"/>
                  <a:pt x="521705" y="113887"/>
                  <a:pt x="506384" y="97876"/>
                </a:cubicBezTo>
                <a:lnTo>
                  <a:pt x="364828" y="239431"/>
                </a:lnTo>
                <a:cubicBezTo>
                  <a:pt x="373348" y="247952"/>
                  <a:pt x="379901" y="257695"/>
                  <a:pt x="384270" y="268192"/>
                </a:cubicBezTo>
                <a:cubicBezTo>
                  <a:pt x="397115" y="254994"/>
                  <a:pt x="421300" y="249745"/>
                  <a:pt x="440404" y="250111"/>
                </a:cubicBezTo>
                <a:cubicBezTo>
                  <a:pt x="465413" y="250112"/>
                  <a:pt x="488055" y="239974"/>
                  <a:pt x="504444" y="223585"/>
                </a:cubicBezTo>
                <a:cubicBezTo>
                  <a:pt x="520834" y="207196"/>
                  <a:pt x="530971" y="184554"/>
                  <a:pt x="530971" y="159544"/>
                </a:cubicBezTo>
                <a:close/>
                <a:moveTo>
                  <a:pt x="595781" y="268215"/>
                </a:moveTo>
                <a:lnTo>
                  <a:pt x="581969" y="268215"/>
                </a:lnTo>
                <a:cubicBezTo>
                  <a:pt x="578743" y="259654"/>
                  <a:pt x="573266" y="252074"/>
                  <a:pt x="566492" y="245300"/>
                </a:cubicBezTo>
                <a:cubicBezTo>
                  <a:pt x="553737" y="232545"/>
                  <a:pt x="538123" y="224389"/>
                  <a:pt x="521623" y="221347"/>
                </a:cubicBezTo>
                <a:cubicBezTo>
                  <a:pt x="519174" y="225205"/>
                  <a:pt x="516174" y="228633"/>
                  <a:pt x="512960" y="231847"/>
                </a:cubicBezTo>
                <a:cubicBezTo>
                  <a:pt x="494535" y="250272"/>
                  <a:pt x="469082" y="261667"/>
                  <a:pt x="440967" y="261667"/>
                </a:cubicBezTo>
                <a:cubicBezTo>
                  <a:pt x="425629" y="261373"/>
                  <a:pt x="413777" y="262574"/>
                  <a:pt x="405186" y="268215"/>
                </a:cubicBezTo>
                <a:lnTo>
                  <a:pt x="372038" y="268215"/>
                </a:lnTo>
                <a:cubicBezTo>
                  <a:pt x="369178" y="260078"/>
                  <a:pt x="364042" y="252948"/>
                  <a:pt x="357679" y="246581"/>
                </a:cubicBezTo>
                <a:lnTo>
                  <a:pt x="349451" y="254808"/>
                </a:lnTo>
                <a:lnTo>
                  <a:pt x="349428" y="254786"/>
                </a:lnTo>
                <a:cubicBezTo>
                  <a:pt x="349421" y="254779"/>
                  <a:pt x="349413" y="254771"/>
                  <a:pt x="349406" y="254763"/>
                </a:cubicBezTo>
                <a:lnTo>
                  <a:pt x="357634" y="246536"/>
                </a:lnTo>
                <a:cubicBezTo>
                  <a:pt x="324632" y="213554"/>
                  <a:pt x="271148" y="213554"/>
                  <a:pt x="238147" y="246536"/>
                </a:cubicBezTo>
                <a:lnTo>
                  <a:pt x="246374" y="254763"/>
                </a:lnTo>
                <a:cubicBezTo>
                  <a:pt x="246367" y="254771"/>
                  <a:pt x="246360" y="254779"/>
                  <a:pt x="246352" y="254786"/>
                </a:cubicBezTo>
                <a:cubicBezTo>
                  <a:pt x="246345" y="254794"/>
                  <a:pt x="246337" y="254801"/>
                  <a:pt x="246329" y="254808"/>
                </a:cubicBezTo>
                <a:lnTo>
                  <a:pt x="238101" y="246581"/>
                </a:lnTo>
                <a:lnTo>
                  <a:pt x="223742" y="268215"/>
                </a:lnTo>
                <a:lnTo>
                  <a:pt x="190546" y="268215"/>
                </a:lnTo>
                <a:cubicBezTo>
                  <a:pt x="181970" y="262570"/>
                  <a:pt x="170130" y="261374"/>
                  <a:pt x="154813" y="261668"/>
                </a:cubicBezTo>
                <a:cubicBezTo>
                  <a:pt x="121806" y="261668"/>
                  <a:pt x="92467" y="245961"/>
                  <a:pt x="74179" y="221373"/>
                </a:cubicBezTo>
                <a:cubicBezTo>
                  <a:pt x="57671" y="224382"/>
                  <a:pt x="42049" y="232539"/>
                  <a:pt x="29288" y="245300"/>
                </a:cubicBezTo>
                <a:lnTo>
                  <a:pt x="13811" y="268215"/>
                </a:lnTo>
                <a:lnTo>
                  <a:pt x="0" y="268215"/>
                </a:lnTo>
                <a:cubicBezTo>
                  <a:pt x="4705" y="256723"/>
                  <a:pt x="11839" y="246048"/>
                  <a:pt x="21157" y="236731"/>
                </a:cubicBezTo>
                <a:cubicBezTo>
                  <a:pt x="34324" y="223564"/>
                  <a:pt x="50200" y="214757"/>
                  <a:pt x="67080" y="210684"/>
                </a:cubicBezTo>
                <a:cubicBezTo>
                  <a:pt x="57990" y="195895"/>
                  <a:pt x="53000" y="178457"/>
                  <a:pt x="53000" y="159854"/>
                </a:cubicBezTo>
                <a:cubicBezTo>
                  <a:pt x="53000" y="132604"/>
                  <a:pt x="63706" y="107854"/>
                  <a:pt x="81286" y="89721"/>
                </a:cubicBezTo>
                <a:cubicBezTo>
                  <a:pt x="99420" y="72140"/>
                  <a:pt x="124170" y="61435"/>
                  <a:pt x="151420" y="61435"/>
                </a:cubicBezTo>
                <a:cubicBezTo>
                  <a:pt x="170023" y="61435"/>
                  <a:pt x="187461" y="66424"/>
                  <a:pt x="202250" y="75515"/>
                </a:cubicBezTo>
                <a:cubicBezTo>
                  <a:pt x="206323" y="58635"/>
                  <a:pt x="215130" y="42758"/>
                  <a:pt x="228297" y="29591"/>
                </a:cubicBezTo>
                <a:cubicBezTo>
                  <a:pt x="247566" y="10322"/>
                  <a:pt x="272636" y="391"/>
                  <a:pt x="297890" y="0"/>
                </a:cubicBezTo>
                <a:cubicBezTo>
                  <a:pt x="323144" y="391"/>
                  <a:pt x="348215" y="10322"/>
                  <a:pt x="367484" y="29591"/>
                </a:cubicBezTo>
                <a:cubicBezTo>
                  <a:pt x="380644" y="42751"/>
                  <a:pt x="389448" y="58618"/>
                  <a:pt x="393604" y="75474"/>
                </a:cubicBezTo>
                <a:cubicBezTo>
                  <a:pt x="408376" y="66408"/>
                  <a:pt x="425787" y="61434"/>
                  <a:pt x="444360" y="61434"/>
                </a:cubicBezTo>
                <a:cubicBezTo>
                  <a:pt x="471611" y="61434"/>
                  <a:pt x="496360" y="72140"/>
                  <a:pt x="514494" y="89721"/>
                </a:cubicBezTo>
                <a:cubicBezTo>
                  <a:pt x="532075" y="107854"/>
                  <a:pt x="542780" y="132604"/>
                  <a:pt x="542780" y="159854"/>
                </a:cubicBezTo>
                <a:cubicBezTo>
                  <a:pt x="542780" y="178427"/>
                  <a:pt x="537807" y="195839"/>
                  <a:pt x="528740" y="210610"/>
                </a:cubicBezTo>
                <a:cubicBezTo>
                  <a:pt x="545596" y="214766"/>
                  <a:pt x="561463" y="223570"/>
                  <a:pt x="574624" y="236731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73" name="Oval 872"/>
          <p:cNvSpPr/>
          <p:nvPr/>
        </p:nvSpPr>
        <p:spPr>
          <a:xfrm>
            <a:off x="531499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74" name="Oval 873"/>
          <p:cNvSpPr/>
          <p:nvPr/>
        </p:nvSpPr>
        <p:spPr>
          <a:xfrm>
            <a:off x="25975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75" name="Oval 874"/>
          <p:cNvSpPr/>
          <p:nvPr/>
        </p:nvSpPr>
        <p:spPr>
          <a:xfrm>
            <a:off x="89165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76" name="Oval 875"/>
          <p:cNvSpPr/>
          <p:nvPr/>
        </p:nvSpPr>
        <p:spPr>
          <a:xfrm>
            <a:off x="152356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77" name="Oval 876"/>
          <p:cNvSpPr/>
          <p:nvPr/>
        </p:nvSpPr>
        <p:spPr>
          <a:xfrm>
            <a:off x="215546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78" name="Oval 877"/>
          <p:cNvSpPr/>
          <p:nvPr/>
        </p:nvSpPr>
        <p:spPr>
          <a:xfrm>
            <a:off x="278737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79" name="Oval 878"/>
          <p:cNvSpPr/>
          <p:nvPr/>
        </p:nvSpPr>
        <p:spPr>
          <a:xfrm>
            <a:off x="341927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80" name="Oval 879"/>
          <p:cNvSpPr/>
          <p:nvPr/>
        </p:nvSpPr>
        <p:spPr>
          <a:xfrm>
            <a:off x="405118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81" name="Oval 880"/>
          <p:cNvSpPr/>
          <p:nvPr/>
        </p:nvSpPr>
        <p:spPr>
          <a:xfrm>
            <a:off x="468308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82" name="Oval 881"/>
          <p:cNvSpPr/>
          <p:nvPr/>
        </p:nvSpPr>
        <p:spPr>
          <a:xfrm>
            <a:off x="657880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83" name="Oval 882"/>
          <p:cNvSpPr/>
          <p:nvPr/>
        </p:nvSpPr>
        <p:spPr>
          <a:xfrm>
            <a:off x="594689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84" name="Oval 883"/>
          <p:cNvSpPr/>
          <p:nvPr/>
        </p:nvSpPr>
        <p:spPr>
          <a:xfrm>
            <a:off x="7842610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85" name="Oval 884"/>
          <p:cNvSpPr/>
          <p:nvPr/>
        </p:nvSpPr>
        <p:spPr>
          <a:xfrm>
            <a:off x="721070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86" name="Oval 885"/>
          <p:cNvSpPr/>
          <p:nvPr/>
        </p:nvSpPr>
        <p:spPr>
          <a:xfrm>
            <a:off x="8474515" y="3101528"/>
            <a:ext cx="127313" cy="1273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87" name="Teardrop 3"/>
          <p:cNvSpPr/>
          <p:nvPr/>
        </p:nvSpPr>
        <p:spPr>
          <a:xfrm rot="5400000" flipH="1" flipV="1">
            <a:off x="4977107" y="3139272"/>
            <a:ext cx="174630" cy="404830"/>
          </a:xfrm>
          <a:custGeom>
            <a:avLst/>
            <a:gdLst/>
            <a:ahLst/>
            <a:cxnLst/>
            <a:rect l="l" t="t" r="r" b="b"/>
            <a:pathLst>
              <a:path w="232840" h="539773">
                <a:moveTo>
                  <a:pt x="221340" y="269867"/>
                </a:moveTo>
                <a:cubicBezTo>
                  <a:pt x="220851" y="247712"/>
                  <a:pt x="212026" y="225783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3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1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7"/>
                  <a:pt x="157326" y="365540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4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3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4"/>
                </a:lnTo>
                <a:lnTo>
                  <a:pt x="0" y="462727"/>
                </a:lnTo>
                <a:cubicBezTo>
                  <a:pt x="14950" y="487415"/>
                  <a:pt x="42305" y="502981"/>
                  <a:pt x="73296" y="502981"/>
                </a:cubicBezTo>
                <a:cubicBezTo>
                  <a:pt x="97207" y="502981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7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9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90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6"/>
                </a:lnTo>
                <a:cubicBezTo>
                  <a:pt x="118953" y="46085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10"/>
                  <a:pt x="124986" y="35715"/>
                  <a:pt x="143120" y="53296"/>
                </a:cubicBezTo>
                <a:cubicBezTo>
                  <a:pt x="160701" y="71430"/>
                  <a:pt x="171406" y="96180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5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88" name="Teardrop 3"/>
          <p:cNvSpPr/>
          <p:nvPr/>
        </p:nvSpPr>
        <p:spPr>
          <a:xfrm rot="5400000" flipH="1" flipV="1">
            <a:off x="17179" y="3237193"/>
            <a:ext cx="174630" cy="208987"/>
          </a:xfrm>
          <a:custGeom>
            <a:avLst/>
            <a:gdLst/>
            <a:ahLst/>
            <a:cxnLst/>
            <a:rect l="l" t="t" r="r" b="b"/>
            <a:pathLst>
              <a:path w="232840" h="278649">
                <a:moveTo>
                  <a:pt x="232840" y="8776"/>
                </a:moveTo>
                <a:cubicBezTo>
                  <a:pt x="232449" y="34030"/>
                  <a:pt x="222519" y="59101"/>
                  <a:pt x="203250" y="78369"/>
                </a:cubicBezTo>
                <a:cubicBezTo>
                  <a:pt x="190082" y="91537"/>
                  <a:pt x="174206" y="100343"/>
                  <a:pt x="157326" y="104416"/>
                </a:cubicBezTo>
                <a:cubicBezTo>
                  <a:pt x="166417" y="119205"/>
                  <a:pt x="171406" y="136643"/>
                  <a:pt x="171406" y="155247"/>
                </a:cubicBezTo>
                <a:cubicBezTo>
                  <a:pt x="171406" y="182497"/>
                  <a:pt x="160701" y="207247"/>
                  <a:pt x="143120" y="225380"/>
                </a:cubicBezTo>
                <a:cubicBezTo>
                  <a:pt x="124986" y="242961"/>
                  <a:pt x="100237" y="253667"/>
                  <a:pt x="72986" y="253667"/>
                </a:cubicBezTo>
                <a:cubicBezTo>
                  <a:pt x="54383" y="253667"/>
                  <a:pt x="36945" y="248677"/>
                  <a:pt x="22156" y="239586"/>
                </a:cubicBezTo>
                <a:lnTo>
                  <a:pt x="0" y="278649"/>
                </a:lnTo>
                <a:lnTo>
                  <a:pt x="0" y="260595"/>
                </a:lnTo>
                <a:cubicBezTo>
                  <a:pt x="5973" y="252057"/>
                  <a:pt x="9654" y="242433"/>
                  <a:pt x="11467" y="232488"/>
                </a:cubicBezTo>
                <a:lnTo>
                  <a:pt x="0" y="218900"/>
                </a:lnTo>
                <a:lnTo>
                  <a:pt x="0" y="201603"/>
                </a:lnTo>
                <a:cubicBezTo>
                  <a:pt x="14950" y="226291"/>
                  <a:pt x="42305" y="241857"/>
                  <a:pt x="73296" y="241857"/>
                </a:cubicBezTo>
                <a:cubicBezTo>
                  <a:pt x="97207" y="241857"/>
                  <a:pt x="118953" y="232592"/>
                  <a:pt x="134965" y="217271"/>
                </a:cubicBezTo>
                <a:lnTo>
                  <a:pt x="0" y="82306"/>
                </a:lnTo>
                <a:lnTo>
                  <a:pt x="0" y="82216"/>
                </a:lnTo>
                <a:lnTo>
                  <a:pt x="135010" y="217225"/>
                </a:lnTo>
                <a:cubicBezTo>
                  <a:pt x="150331" y="201213"/>
                  <a:pt x="159597" y="179467"/>
                  <a:pt x="159597" y="155556"/>
                </a:cubicBezTo>
                <a:cubicBezTo>
                  <a:pt x="159597" y="105538"/>
                  <a:pt x="119048" y="64989"/>
                  <a:pt x="69030" y="64989"/>
                </a:cubicBezTo>
                <a:cubicBezTo>
                  <a:pt x="49952" y="65355"/>
                  <a:pt x="25806" y="60121"/>
                  <a:pt x="12948" y="46961"/>
                </a:cubicBezTo>
                <a:lnTo>
                  <a:pt x="0" y="66032"/>
                </a:lnTo>
                <a:lnTo>
                  <a:pt x="0" y="46474"/>
                </a:lnTo>
                <a:cubicBezTo>
                  <a:pt x="9193" y="32573"/>
                  <a:pt x="11853" y="16060"/>
                  <a:pt x="9334" y="0"/>
                </a:cubicBezTo>
                <a:lnTo>
                  <a:pt x="17529" y="0"/>
                </a:lnTo>
                <a:cubicBezTo>
                  <a:pt x="21671" y="11094"/>
                  <a:pt x="20740" y="22668"/>
                  <a:pt x="17673" y="33790"/>
                </a:cubicBezTo>
                <a:cubicBezTo>
                  <a:pt x="27631" y="50142"/>
                  <a:pt x="43609" y="53932"/>
                  <a:pt x="69593" y="53433"/>
                </a:cubicBezTo>
                <a:cubicBezTo>
                  <a:pt x="102600" y="53434"/>
                  <a:pt x="131938" y="69140"/>
                  <a:pt x="150227" y="93727"/>
                </a:cubicBezTo>
                <a:cubicBezTo>
                  <a:pt x="166735" y="90718"/>
                  <a:pt x="182357" y="82561"/>
                  <a:pt x="195118" y="69800"/>
                </a:cubicBezTo>
                <a:cubicBezTo>
                  <a:pt x="212026" y="52893"/>
                  <a:pt x="220851" y="30964"/>
                  <a:pt x="221339" y="8808"/>
                </a:cubicBezTo>
                <a:lnTo>
                  <a:pt x="136174" y="8808"/>
                </a:lnTo>
                <a:lnTo>
                  <a:pt x="136173" y="8744"/>
                </a:lnTo>
                <a:lnTo>
                  <a:pt x="221340" y="8744"/>
                </a:lnTo>
                <a:lnTo>
                  <a:pt x="219467" y="0"/>
                </a:lnTo>
                <a:lnTo>
                  <a:pt x="231012" y="0"/>
                </a:lnTo>
                <a:cubicBezTo>
                  <a:pt x="232616" y="2826"/>
                  <a:pt x="232794" y="5800"/>
                  <a:pt x="232840" y="877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89" name="Teardrop 3"/>
          <p:cNvSpPr/>
          <p:nvPr/>
        </p:nvSpPr>
        <p:spPr>
          <a:xfrm rot="5400000" flipH="1" flipV="1">
            <a:off x="1185676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2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7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3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79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lnTo>
                  <a:pt x="143120" y="53296"/>
                </a:ln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5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90" name="Teardrop 3"/>
          <p:cNvSpPr/>
          <p:nvPr/>
        </p:nvSpPr>
        <p:spPr>
          <a:xfrm rot="5400000" flipH="1" flipV="1">
            <a:off x="1817581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2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79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09"/>
                  <a:pt x="124986" y="35715"/>
                  <a:pt x="143120" y="53296"/>
                </a:cubicBezTo>
                <a:lnTo>
                  <a:pt x="143120" y="53296"/>
                </a:ln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91" name="Teardrop 3"/>
          <p:cNvSpPr/>
          <p:nvPr/>
        </p:nvSpPr>
        <p:spPr>
          <a:xfrm rot="5400000" flipH="1" flipV="1">
            <a:off x="2449486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2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79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09"/>
                  <a:pt x="124986" y="35715"/>
                  <a:pt x="143120" y="53296"/>
                </a:cubicBezTo>
                <a:lnTo>
                  <a:pt x="143120" y="53296"/>
                </a:ln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92" name="Teardrop 3"/>
          <p:cNvSpPr/>
          <p:nvPr/>
        </p:nvSpPr>
        <p:spPr>
          <a:xfrm rot="5400000" flipH="1" flipV="1">
            <a:off x="3081392" y="3139272"/>
            <a:ext cx="174630" cy="404830"/>
          </a:xfrm>
          <a:custGeom>
            <a:avLst/>
            <a:gdLst/>
            <a:ahLst/>
            <a:cxnLst/>
            <a:rect l="l" t="t" r="r" b="b"/>
            <a:pathLst>
              <a:path w="232840" h="539773">
                <a:moveTo>
                  <a:pt x="221340" y="269867"/>
                </a:moveTo>
                <a:cubicBezTo>
                  <a:pt x="220851" y="247712"/>
                  <a:pt x="212026" y="225782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2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1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7"/>
                  <a:pt x="157326" y="365540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4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3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4"/>
                </a:lnTo>
                <a:lnTo>
                  <a:pt x="0" y="462726"/>
                </a:lnTo>
                <a:cubicBezTo>
                  <a:pt x="14950" y="487415"/>
                  <a:pt x="42305" y="502981"/>
                  <a:pt x="73296" y="502981"/>
                </a:cubicBezTo>
                <a:cubicBezTo>
                  <a:pt x="97207" y="502981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7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9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79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09"/>
                  <a:pt x="124986" y="35715"/>
                  <a:pt x="143120" y="53296"/>
                </a:cubicBezTo>
                <a:lnTo>
                  <a:pt x="143120" y="53296"/>
                </a:ln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93" name="Teardrop 3"/>
          <p:cNvSpPr/>
          <p:nvPr/>
        </p:nvSpPr>
        <p:spPr>
          <a:xfrm rot="5400000" flipH="1" flipV="1">
            <a:off x="3713297" y="3139272"/>
            <a:ext cx="174630" cy="404830"/>
          </a:xfrm>
          <a:custGeom>
            <a:avLst/>
            <a:gdLst/>
            <a:ahLst/>
            <a:cxnLst/>
            <a:rect l="l" t="t" r="r" b="b"/>
            <a:pathLst>
              <a:path w="232840" h="539773">
                <a:moveTo>
                  <a:pt x="221340" y="269867"/>
                </a:moveTo>
                <a:cubicBezTo>
                  <a:pt x="220851" y="247712"/>
                  <a:pt x="212026" y="225783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3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1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7"/>
                  <a:pt x="157326" y="365540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4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3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4"/>
                </a:lnTo>
                <a:lnTo>
                  <a:pt x="0" y="462727"/>
                </a:lnTo>
                <a:cubicBezTo>
                  <a:pt x="14950" y="487415"/>
                  <a:pt x="42305" y="502981"/>
                  <a:pt x="73296" y="502981"/>
                </a:cubicBezTo>
                <a:cubicBezTo>
                  <a:pt x="97207" y="502981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7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9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90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6"/>
                </a:lnTo>
                <a:cubicBezTo>
                  <a:pt x="118953" y="46085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10"/>
                  <a:pt x="124986" y="35715"/>
                  <a:pt x="143120" y="53296"/>
                </a:cubicBezTo>
                <a:cubicBezTo>
                  <a:pt x="160701" y="71430"/>
                  <a:pt x="171406" y="96180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5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94" name="Teardrop 3"/>
          <p:cNvSpPr/>
          <p:nvPr/>
        </p:nvSpPr>
        <p:spPr>
          <a:xfrm rot="5400000" flipH="1" flipV="1">
            <a:off x="4345202" y="3139272"/>
            <a:ext cx="174630" cy="404830"/>
          </a:xfrm>
          <a:custGeom>
            <a:avLst/>
            <a:gdLst/>
            <a:ahLst/>
            <a:cxnLst/>
            <a:rect l="l" t="t" r="r" b="b"/>
            <a:pathLst>
              <a:path w="232840" h="539773">
                <a:moveTo>
                  <a:pt x="221340" y="269867"/>
                </a:moveTo>
                <a:cubicBezTo>
                  <a:pt x="220851" y="247712"/>
                  <a:pt x="212026" y="225783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3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1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7"/>
                  <a:pt x="157326" y="365540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4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3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4"/>
                </a:lnTo>
                <a:lnTo>
                  <a:pt x="0" y="462727"/>
                </a:lnTo>
                <a:cubicBezTo>
                  <a:pt x="14950" y="487415"/>
                  <a:pt x="42305" y="502981"/>
                  <a:pt x="73296" y="502981"/>
                </a:cubicBezTo>
                <a:cubicBezTo>
                  <a:pt x="97207" y="502981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7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9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90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6"/>
                </a:lnTo>
                <a:cubicBezTo>
                  <a:pt x="118953" y="46085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10"/>
                  <a:pt x="124986" y="35715"/>
                  <a:pt x="143120" y="53296"/>
                </a:cubicBezTo>
                <a:cubicBezTo>
                  <a:pt x="160701" y="71430"/>
                  <a:pt x="171406" y="96180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5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95" name="Teardrop 3"/>
          <p:cNvSpPr/>
          <p:nvPr/>
        </p:nvSpPr>
        <p:spPr>
          <a:xfrm rot="5400000" flipH="1" flipV="1">
            <a:off x="6240916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2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6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5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09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90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6"/>
                </a:lnTo>
                <a:cubicBezTo>
                  <a:pt x="118953" y="46085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10"/>
                  <a:pt x="124986" y="35715"/>
                  <a:pt x="143120" y="53296"/>
                </a:cubicBezTo>
                <a:cubicBezTo>
                  <a:pt x="160701" y="71430"/>
                  <a:pt x="171406" y="96180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5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96" name="Teardrop 3"/>
          <p:cNvSpPr/>
          <p:nvPr/>
        </p:nvSpPr>
        <p:spPr>
          <a:xfrm rot="5400000" flipH="1" flipV="1">
            <a:off x="5609012" y="3139272"/>
            <a:ext cx="174630" cy="404830"/>
          </a:xfrm>
          <a:custGeom>
            <a:avLst/>
            <a:gdLst/>
            <a:ahLst/>
            <a:cxnLst/>
            <a:rect l="l" t="t" r="r" b="b"/>
            <a:pathLst>
              <a:path w="232840" h="539773">
                <a:moveTo>
                  <a:pt x="221340" y="269867"/>
                </a:moveTo>
                <a:cubicBezTo>
                  <a:pt x="220851" y="247712"/>
                  <a:pt x="212026" y="225783"/>
                  <a:pt x="195119" y="208875"/>
                </a:cubicBezTo>
                <a:cubicBezTo>
                  <a:pt x="182363" y="196120"/>
                  <a:pt x="166749" y="187965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3"/>
                </a:cubicBezTo>
                <a:cubicBezTo>
                  <a:pt x="43433" y="224741"/>
                  <a:pt x="27415" y="228586"/>
                  <a:pt x="17461" y="245213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1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7"/>
                  <a:pt x="157326" y="365540"/>
                </a:cubicBezTo>
                <a:cubicBezTo>
                  <a:pt x="166417" y="380328"/>
                  <a:pt x="171406" y="397767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4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3"/>
                </a:lnTo>
                <a:lnTo>
                  <a:pt x="0" y="521718"/>
                </a:lnTo>
                <a:cubicBezTo>
                  <a:pt x="5973" y="513180"/>
                  <a:pt x="9654" y="503556"/>
                  <a:pt x="11467" y="493611"/>
                </a:cubicBezTo>
                <a:lnTo>
                  <a:pt x="0" y="480024"/>
                </a:lnTo>
                <a:lnTo>
                  <a:pt x="0" y="462726"/>
                </a:lnTo>
                <a:cubicBezTo>
                  <a:pt x="14950" y="487415"/>
                  <a:pt x="42305" y="502981"/>
                  <a:pt x="73296" y="502981"/>
                </a:cubicBezTo>
                <a:cubicBezTo>
                  <a:pt x="97207" y="502981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9"/>
                </a:lnTo>
                <a:lnTo>
                  <a:pt x="135010" y="478348"/>
                </a:lnTo>
                <a:cubicBezTo>
                  <a:pt x="150331" y="462337"/>
                  <a:pt x="159597" y="440590"/>
                  <a:pt x="159597" y="416680"/>
                </a:cubicBezTo>
                <a:cubicBezTo>
                  <a:pt x="159597" y="366661"/>
                  <a:pt x="119048" y="326112"/>
                  <a:pt x="69030" y="326113"/>
                </a:cubicBezTo>
                <a:cubicBezTo>
                  <a:pt x="49952" y="326479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3"/>
                  <a:pt x="0" y="230790"/>
                </a:cubicBezTo>
                <a:lnTo>
                  <a:pt x="0" y="212690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7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20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6"/>
                </a:lnTo>
                <a:cubicBezTo>
                  <a:pt x="118953" y="46085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10"/>
                  <a:pt x="72986" y="25010"/>
                </a:cubicBezTo>
                <a:cubicBezTo>
                  <a:pt x="100237" y="25010"/>
                  <a:pt x="124986" y="35715"/>
                  <a:pt x="143120" y="53296"/>
                </a:cubicBezTo>
                <a:cubicBezTo>
                  <a:pt x="160701" y="71430"/>
                  <a:pt x="171406" y="96180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6"/>
                  <a:pt x="203250" y="200306"/>
                </a:cubicBezTo>
                <a:cubicBezTo>
                  <a:pt x="222519" y="219575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97" name="Teardrop 3"/>
          <p:cNvSpPr/>
          <p:nvPr/>
        </p:nvSpPr>
        <p:spPr>
          <a:xfrm rot="5400000" flipH="1" flipV="1">
            <a:off x="7504726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2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6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5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09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49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2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09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98" name="Teardrop 3"/>
          <p:cNvSpPr/>
          <p:nvPr/>
        </p:nvSpPr>
        <p:spPr>
          <a:xfrm rot="5400000" flipH="1" flipV="1">
            <a:off x="6872821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2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6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5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09"/>
                </a:cubicBezTo>
                <a:lnTo>
                  <a:pt x="0" y="539772"/>
                </a:lnTo>
                <a:lnTo>
                  <a:pt x="0" y="521717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49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2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6"/>
                  <a:pt x="5972" y="26608"/>
                  <a:pt x="0" y="18073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09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99" name="Teardrop 3"/>
          <p:cNvSpPr/>
          <p:nvPr/>
        </p:nvSpPr>
        <p:spPr>
          <a:xfrm rot="5400000" flipH="1" flipV="1">
            <a:off x="8768535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2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6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5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09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49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2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09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00" name="Teardrop 3"/>
          <p:cNvSpPr/>
          <p:nvPr/>
        </p:nvSpPr>
        <p:spPr>
          <a:xfrm rot="5400000" flipH="1" flipV="1">
            <a:off x="8136631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2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6"/>
                </a:cubicBezTo>
                <a:cubicBezTo>
                  <a:pt x="102600" y="314556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5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09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9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49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2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80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6"/>
                  <a:pt x="5972" y="26608"/>
                  <a:pt x="0" y="18073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09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01" name="Teardrop 3"/>
          <p:cNvSpPr/>
          <p:nvPr/>
        </p:nvSpPr>
        <p:spPr>
          <a:xfrm rot="5400000" flipH="1" flipV="1">
            <a:off x="550037" y="3139271"/>
            <a:ext cx="174630" cy="404829"/>
          </a:xfrm>
          <a:custGeom>
            <a:avLst/>
            <a:gdLst/>
            <a:ahLst/>
            <a:cxnLst/>
            <a:rect l="l" t="t" r="r" b="b"/>
            <a:pathLst>
              <a:path w="232840" h="539772">
                <a:moveTo>
                  <a:pt x="221340" y="269867"/>
                </a:moveTo>
                <a:cubicBezTo>
                  <a:pt x="220851" y="247711"/>
                  <a:pt x="212026" y="225782"/>
                  <a:pt x="195119" y="208875"/>
                </a:cubicBezTo>
                <a:cubicBezTo>
                  <a:pt x="182363" y="196120"/>
                  <a:pt x="166749" y="187964"/>
                  <a:pt x="150249" y="184922"/>
                </a:cubicBezTo>
                <a:cubicBezTo>
                  <a:pt x="147800" y="188780"/>
                  <a:pt x="144800" y="192208"/>
                  <a:pt x="141586" y="195422"/>
                </a:cubicBezTo>
                <a:cubicBezTo>
                  <a:pt x="123161" y="213847"/>
                  <a:pt x="97708" y="225243"/>
                  <a:pt x="69593" y="225242"/>
                </a:cubicBezTo>
                <a:cubicBezTo>
                  <a:pt x="43433" y="224741"/>
                  <a:pt x="27415" y="228586"/>
                  <a:pt x="17461" y="245212"/>
                </a:cubicBezTo>
                <a:cubicBezTo>
                  <a:pt x="22074" y="261450"/>
                  <a:pt x="22154" y="278664"/>
                  <a:pt x="17673" y="294913"/>
                </a:cubicBezTo>
                <a:cubicBezTo>
                  <a:pt x="27631" y="311265"/>
                  <a:pt x="43609" y="315055"/>
                  <a:pt x="69593" y="314557"/>
                </a:cubicBezTo>
                <a:cubicBezTo>
                  <a:pt x="102600" y="314557"/>
                  <a:pt x="131938" y="330263"/>
                  <a:pt x="150227" y="354850"/>
                </a:cubicBezTo>
                <a:cubicBezTo>
                  <a:pt x="166735" y="351841"/>
                  <a:pt x="182357" y="343684"/>
                  <a:pt x="195118" y="330923"/>
                </a:cubicBezTo>
                <a:cubicBezTo>
                  <a:pt x="212026" y="314016"/>
                  <a:pt x="220851" y="292087"/>
                  <a:pt x="221339" y="269931"/>
                </a:cubicBezTo>
                <a:lnTo>
                  <a:pt x="136174" y="269931"/>
                </a:lnTo>
                <a:lnTo>
                  <a:pt x="136173" y="269867"/>
                </a:lnTo>
                <a:close/>
                <a:moveTo>
                  <a:pt x="232840" y="269899"/>
                </a:moveTo>
                <a:cubicBezTo>
                  <a:pt x="232449" y="295153"/>
                  <a:pt x="222519" y="320224"/>
                  <a:pt x="203250" y="339492"/>
                </a:cubicBezTo>
                <a:cubicBezTo>
                  <a:pt x="190082" y="352660"/>
                  <a:pt x="174206" y="361466"/>
                  <a:pt x="157326" y="365539"/>
                </a:cubicBezTo>
                <a:cubicBezTo>
                  <a:pt x="166417" y="380328"/>
                  <a:pt x="171406" y="397766"/>
                  <a:pt x="171406" y="416370"/>
                </a:cubicBezTo>
                <a:cubicBezTo>
                  <a:pt x="171406" y="443620"/>
                  <a:pt x="160701" y="468370"/>
                  <a:pt x="143120" y="486503"/>
                </a:cubicBezTo>
                <a:lnTo>
                  <a:pt x="143120" y="486503"/>
                </a:lnTo>
                <a:cubicBezTo>
                  <a:pt x="124986" y="504084"/>
                  <a:pt x="100237" y="514790"/>
                  <a:pt x="72986" y="514790"/>
                </a:cubicBezTo>
                <a:cubicBezTo>
                  <a:pt x="54383" y="514790"/>
                  <a:pt x="36945" y="509800"/>
                  <a:pt x="22156" y="500710"/>
                </a:cubicBezTo>
                <a:lnTo>
                  <a:pt x="0" y="539772"/>
                </a:lnTo>
                <a:lnTo>
                  <a:pt x="0" y="521718"/>
                </a:lnTo>
                <a:cubicBezTo>
                  <a:pt x="5973" y="513179"/>
                  <a:pt x="9654" y="503556"/>
                  <a:pt x="11467" y="493611"/>
                </a:cubicBezTo>
                <a:lnTo>
                  <a:pt x="0" y="480023"/>
                </a:lnTo>
                <a:lnTo>
                  <a:pt x="0" y="462726"/>
                </a:lnTo>
                <a:cubicBezTo>
                  <a:pt x="14950" y="487414"/>
                  <a:pt x="42305" y="502980"/>
                  <a:pt x="73296" y="502980"/>
                </a:cubicBezTo>
                <a:cubicBezTo>
                  <a:pt x="97207" y="502980"/>
                  <a:pt x="118953" y="493715"/>
                  <a:pt x="134965" y="478394"/>
                </a:cubicBezTo>
                <a:lnTo>
                  <a:pt x="0" y="343428"/>
                </a:lnTo>
                <a:lnTo>
                  <a:pt x="0" y="343338"/>
                </a:lnTo>
                <a:lnTo>
                  <a:pt x="135010" y="478348"/>
                </a:lnTo>
                <a:cubicBezTo>
                  <a:pt x="150331" y="462336"/>
                  <a:pt x="159597" y="440590"/>
                  <a:pt x="159597" y="416679"/>
                </a:cubicBezTo>
                <a:cubicBezTo>
                  <a:pt x="159597" y="366661"/>
                  <a:pt x="119048" y="326112"/>
                  <a:pt x="69030" y="326112"/>
                </a:cubicBezTo>
                <a:cubicBezTo>
                  <a:pt x="49952" y="326478"/>
                  <a:pt x="25806" y="321244"/>
                  <a:pt x="12948" y="308084"/>
                </a:cubicBezTo>
                <a:lnTo>
                  <a:pt x="0" y="327154"/>
                </a:lnTo>
                <a:lnTo>
                  <a:pt x="0" y="309010"/>
                </a:lnTo>
                <a:cubicBezTo>
                  <a:pt x="14338" y="284867"/>
                  <a:pt x="14338" y="254932"/>
                  <a:pt x="0" y="230790"/>
                </a:cubicBezTo>
                <a:lnTo>
                  <a:pt x="0" y="212689"/>
                </a:lnTo>
                <a:cubicBezTo>
                  <a:pt x="6036" y="217996"/>
                  <a:pt x="9959" y="224711"/>
                  <a:pt x="12896" y="231767"/>
                </a:cubicBezTo>
                <a:cubicBezTo>
                  <a:pt x="25742" y="218569"/>
                  <a:pt x="49927" y="213320"/>
                  <a:pt x="69030" y="213686"/>
                </a:cubicBezTo>
                <a:cubicBezTo>
                  <a:pt x="94039" y="213687"/>
                  <a:pt x="116681" y="203550"/>
                  <a:pt x="133071" y="187160"/>
                </a:cubicBezTo>
                <a:cubicBezTo>
                  <a:pt x="149460" y="170771"/>
                  <a:pt x="159597" y="148129"/>
                  <a:pt x="159597" y="123119"/>
                </a:cubicBezTo>
                <a:cubicBezTo>
                  <a:pt x="159597" y="99209"/>
                  <a:pt x="150331" y="77463"/>
                  <a:pt x="135010" y="61451"/>
                </a:cubicBezTo>
                <a:lnTo>
                  <a:pt x="0" y="196461"/>
                </a:lnTo>
                <a:lnTo>
                  <a:pt x="0" y="196370"/>
                </a:lnTo>
                <a:lnTo>
                  <a:pt x="134965" y="61405"/>
                </a:lnTo>
                <a:cubicBezTo>
                  <a:pt x="118953" y="46084"/>
                  <a:pt x="97207" y="36819"/>
                  <a:pt x="73296" y="36819"/>
                </a:cubicBezTo>
                <a:cubicBezTo>
                  <a:pt x="42305" y="36819"/>
                  <a:pt x="14950" y="52385"/>
                  <a:pt x="0" y="77073"/>
                </a:cubicBezTo>
                <a:lnTo>
                  <a:pt x="0" y="59779"/>
                </a:lnTo>
                <a:cubicBezTo>
                  <a:pt x="2240" y="53717"/>
                  <a:pt x="6698" y="49732"/>
                  <a:pt x="11494" y="46167"/>
                </a:cubicBezTo>
                <a:cubicBezTo>
                  <a:pt x="9661" y="36227"/>
                  <a:pt x="5972" y="26608"/>
                  <a:pt x="0" y="18074"/>
                </a:cubicBezTo>
                <a:lnTo>
                  <a:pt x="0" y="0"/>
                </a:lnTo>
                <a:cubicBezTo>
                  <a:pt x="11637" y="10773"/>
                  <a:pt x="18655" y="24545"/>
                  <a:pt x="22230" y="39049"/>
                </a:cubicBezTo>
                <a:cubicBezTo>
                  <a:pt x="37002" y="29983"/>
                  <a:pt x="54413" y="25009"/>
                  <a:pt x="72986" y="25009"/>
                </a:cubicBezTo>
                <a:cubicBezTo>
                  <a:pt x="100237" y="25009"/>
                  <a:pt x="124986" y="35715"/>
                  <a:pt x="143120" y="53296"/>
                </a:cubicBezTo>
                <a:lnTo>
                  <a:pt x="143120" y="53296"/>
                </a:lnTo>
                <a:cubicBezTo>
                  <a:pt x="160701" y="71429"/>
                  <a:pt x="171406" y="96179"/>
                  <a:pt x="171406" y="123429"/>
                </a:cubicBezTo>
                <a:cubicBezTo>
                  <a:pt x="171406" y="142002"/>
                  <a:pt x="166433" y="159414"/>
                  <a:pt x="157367" y="174185"/>
                </a:cubicBezTo>
                <a:cubicBezTo>
                  <a:pt x="174223" y="178341"/>
                  <a:pt x="190089" y="187145"/>
                  <a:pt x="203250" y="200306"/>
                </a:cubicBezTo>
                <a:cubicBezTo>
                  <a:pt x="222519" y="219574"/>
                  <a:pt x="232449" y="244645"/>
                  <a:pt x="232840" y="2698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02" name="Oval 1651"/>
          <p:cNvSpPr/>
          <p:nvPr/>
        </p:nvSpPr>
        <p:spPr>
          <a:xfrm>
            <a:off x="609465" y="3420989"/>
            <a:ext cx="8273246" cy="8012"/>
          </a:xfrm>
          <a:custGeom>
            <a:avLst/>
            <a:gdLst/>
            <a:ahLst/>
            <a:cxnLst/>
            <a:rect l="l" t="t" r="r" b="b"/>
            <a:pathLst>
              <a:path w="11030995" h="10682">
                <a:moveTo>
                  <a:pt x="10992007" y="0"/>
                </a:moveTo>
                <a:cubicBezTo>
                  <a:pt x="11006265" y="0"/>
                  <a:pt x="11019702" y="3516"/>
                  <a:pt x="11030995" y="10682"/>
                </a:cubicBezTo>
                <a:lnTo>
                  <a:pt x="10953019" y="10682"/>
                </a:lnTo>
                <a:cubicBezTo>
                  <a:pt x="10964312" y="3516"/>
                  <a:pt x="10977749" y="0"/>
                  <a:pt x="10992007" y="0"/>
                </a:cubicBezTo>
                <a:close/>
                <a:moveTo>
                  <a:pt x="10149468" y="0"/>
                </a:moveTo>
                <a:cubicBezTo>
                  <a:pt x="10163726" y="0"/>
                  <a:pt x="10177163" y="3516"/>
                  <a:pt x="10188456" y="10682"/>
                </a:cubicBezTo>
                <a:lnTo>
                  <a:pt x="10110480" y="10682"/>
                </a:lnTo>
                <a:cubicBezTo>
                  <a:pt x="10121773" y="3516"/>
                  <a:pt x="10135210" y="0"/>
                  <a:pt x="10149468" y="0"/>
                </a:cubicBezTo>
                <a:close/>
                <a:moveTo>
                  <a:pt x="9306928" y="0"/>
                </a:moveTo>
                <a:cubicBezTo>
                  <a:pt x="9321186" y="0"/>
                  <a:pt x="9334623" y="3516"/>
                  <a:pt x="9345916" y="10682"/>
                </a:cubicBezTo>
                <a:lnTo>
                  <a:pt x="9267940" y="10682"/>
                </a:lnTo>
                <a:cubicBezTo>
                  <a:pt x="9279233" y="3516"/>
                  <a:pt x="9292670" y="0"/>
                  <a:pt x="9306928" y="0"/>
                </a:cubicBezTo>
                <a:close/>
                <a:moveTo>
                  <a:pt x="8464388" y="0"/>
                </a:moveTo>
                <a:cubicBezTo>
                  <a:pt x="8478646" y="0"/>
                  <a:pt x="8492083" y="3516"/>
                  <a:pt x="8503376" y="10682"/>
                </a:cubicBezTo>
                <a:lnTo>
                  <a:pt x="8425400" y="10682"/>
                </a:lnTo>
                <a:cubicBezTo>
                  <a:pt x="8436693" y="3516"/>
                  <a:pt x="8450130" y="0"/>
                  <a:pt x="8464388" y="0"/>
                </a:cubicBezTo>
                <a:close/>
                <a:moveTo>
                  <a:pt x="7621848" y="0"/>
                </a:moveTo>
                <a:cubicBezTo>
                  <a:pt x="7636106" y="0"/>
                  <a:pt x="7649543" y="3516"/>
                  <a:pt x="7660836" y="10682"/>
                </a:cubicBezTo>
                <a:lnTo>
                  <a:pt x="7582860" y="10682"/>
                </a:lnTo>
                <a:cubicBezTo>
                  <a:pt x="7594153" y="3516"/>
                  <a:pt x="7607590" y="0"/>
                  <a:pt x="7621848" y="0"/>
                </a:cubicBezTo>
                <a:close/>
                <a:moveTo>
                  <a:pt x="6779308" y="0"/>
                </a:moveTo>
                <a:cubicBezTo>
                  <a:pt x="6793566" y="0"/>
                  <a:pt x="6807003" y="3516"/>
                  <a:pt x="6818296" y="10682"/>
                </a:cubicBezTo>
                <a:lnTo>
                  <a:pt x="6740320" y="10682"/>
                </a:lnTo>
                <a:cubicBezTo>
                  <a:pt x="6751613" y="3516"/>
                  <a:pt x="6765050" y="0"/>
                  <a:pt x="6779308" y="0"/>
                </a:cubicBezTo>
                <a:close/>
                <a:moveTo>
                  <a:pt x="5936768" y="0"/>
                </a:moveTo>
                <a:cubicBezTo>
                  <a:pt x="5951026" y="0"/>
                  <a:pt x="5964463" y="3516"/>
                  <a:pt x="5975757" y="10682"/>
                </a:cubicBezTo>
                <a:lnTo>
                  <a:pt x="5897780" y="10682"/>
                </a:lnTo>
                <a:cubicBezTo>
                  <a:pt x="5909073" y="3516"/>
                  <a:pt x="5922510" y="0"/>
                  <a:pt x="5936768" y="0"/>
                </a:cubicBezTo>
                <a:close/>
                <a:moveTo>
                  <a:pt x="5094228" y="0"/>
                </a:moveTo>
                <a:cubicBezTo>
                  <a:pt x="5108486" y="0"/>
                  <a:pt x="5121923" y="3516"/>
                  <a:pt x="5133217" y="10682"/>
                </a:cubicBezTo>
                <a:lnTo>
                  <a:pt x="5055240" y="10682"/>
                </a:lnTo>
                <a:cubicBezTo>
                  <a:pt x="5066533" y="3516"/>
                  <a:pt x="5079970" y="0"/>
                  <a:pt x="5094228" y="0"/>
                </a:cubicBezTo>
                <a:close/>
                <a:moveTo>
                  <a:pt x="4251688" y="0"/>
                </a:moveTo>
                <a:cubicBezTo>
                  <a:pt x="4265946" y="0"/>
                  <a:pt x="4279383" y="3516"/>
                  <a:pt x="4290676" y="10682"/>
                </a:cubicBezTo>
                <a:lnTo>
                  <a:pt x="4212700" y="10682"/>
                </a:lnTo>
                <a:cubicBezTo>
                  <a:pt x="4223993" y="3516"/>
                  <a:pt x="4237430" y="0"/>
                  <a:pt x="4251688" y="0"/>
                </a:cubicBezTo>
                <a:close/>
                <a:moveTo>
                  <a:pt x="3409148" y="0"/>
                </a:moveTo>
                <a:cubicBezTo>
                  <a:pt x="3423406" y="0"/>
                  <a:pt x="3436843" y="3516"/>
                  <a:pt x="3448136" y="10682"/>
                </a:cubicBezTo>
                <a:lnTo>
                  <a:pt x="3370160" y="10682"/>
                </a:lnTo>
                <a:cubicBezTo>
                  <a:pt x="3381453" y="3516"/>
                  <a:pt x="3394890" y="0"/>
                  <a:pt x="3409148" y="0"/>
                </a:cubicBezTo>
                <a:close/>
                <a:moveTo>
                  <a:pt x="2566608" y="0"/>
                </a:moveTo>
                <a:cubicBezTo>
                  <a:pt x="2580866" y="0"/>
                  <a:pt x="2594303" y="3516"/>
                  <a:pt x="2605596" y="10682"/>
                </a:cubicBezTo>
                <a:lnTo>
                  <a:pt x="2527620" y="10682"/>
                </a:lnTo>
                <a:cubicBezTo>
                  <a:pt x="2538913" y="3516"/>
                  <a:pt x="2552350" y="0"/>
                  <a:pt x="2566608" y="0"/>
                </a:cubicBezTo>
                <a:close/>
                <a:moveTo>
                  <a:pt x="1724068" y="0"/>
                </a:moveTo>
                <a:cubicBezTo>
                  <a:pt x="1738326" y="0"/>
                  <a:pt x="1751763" y="3516"/>
                  <a:pt x="1763056" y="10682"/>
                </a:cubicBezTo>
                <a:lnTo>
                  <a:pt x="1685080" y="10682"/>
                </a:lnTo>
                <a:cubicBezTo>
                  <a:pt x="1696373" y="3516"/>
                  <a:pt x="1709810" y="0"/>
                  <a:pt x="1724068" y="0"/>
                </a:cubicBezTo>
                <a:close/>
                <a:moveTo>
                  <a:pt x="881528" y="0"/>
                </a:moveTo>
                <a:cubicBezTo>
                  <a:pt x="895786" y="0"/>
                  <a:pt x="909223" y="3516"/>
                  <a:pt x="920516" y="10682"/>
                </a:cubicBezTo>
                <a:lnTo>
                  <a:pt x="842540" y="10682"/>
                </a:lnTo>
                <a:cubicBezTo>
                  <a:pt x="853833" y="3516"/>
                  <a:pt x="867270" y="0"/>
                  <a:pt x="881528" y="0"/>
                </a:cubicBezTo>
                <a:close/>
                <a:moveTo>
                  <a:pt x="38988" y="0"/>
                </a:moveTo>
                <a:cubicBezTo>
                  <a:pt x="53246" y="0"/>
                  <a:pt x="66683" y="3516"/>
                  <a:pt x="77976" y="10682"/>
                </a:cubicBezTo>
                <a:lnTo>
                  <a:pt x="0" y="10682"/>
                </a:lnTo>
                <a:cubicBezTo>
                  <a:pt x="11293" y="3516"/>
                  <a:pt x="24730" y="0"/>
                  <a:pt x="3898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03" name="Oval 902"/>
          <p:cNvSpPr/>
          <p:nvPr/>
        </p:nvSpPr>
        <p:spPr>
          <a:xfrm>
            <a:off x="534037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04" name="Oval 903"/>
          <p:cNvSpPr/>
          <p:nvPr/>
        </p:nvSpPr>
        <p:spPr>
          <a:xfrm>
            <a:off x="28309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05" name="Oval 904"/>
          <p:cNvSpPr/>
          <p:nvPr/>
        </p:nvSpPr>
        <p:spPr>
          <a:xfrm>
            <a:off x="91525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06" name="Oval 905"/>
          <p:cNvSpPr/>
          <p:nvPr/>
        </p:nvSpPr>
        <p:spPr>
          <a:xfrm>
            <a:off x="154741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07" name="Oval 906"/>
          <p:cNvSpPr/>
          <p:nvPr/>
        </p:nvSpPr>
        <p:spPr>
          <a:xfrm>
            <a:off x="217957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08" name="Oval 907"/>
          <p:cNvSpPr/>
          <p:nvPr/>
        </p:nvSpPr>
        <p:spPr>
          <a:xfrm>
            <a:off x="281173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09" name="Oval 908"/>
          <p:cNvSpPr/>
          <p:nvPr/>
        </p:nvSpPr>
        <p:spPr>
          <a:xfrm>
            <a:off x="344389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10" name="Oval 909"/>
          <p:cNvSpPr/>
          <p:nvPr/>
        </p:nvSpPr>
        <p:spPr>
          <a:xfrm>
            <a:off x="407605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11" name="Oval 910"/>
          <p:cNvSpPr/>
          <p:nvPr/>
        </p:nvSpPr>
        <p:spPr>
          <a:xfrm>
            <a:off x="470821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12" name="Oval 911"/>
          <p:cNvSpPr/>
          <p:nvPr/>
        </p:nvSpPr>
        <p:spPr>
          <a:xfrm>
            <a:off x="660469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13" name="Oval 912"/>
          <p:cNvSpPr/>
          <p:nvPr/>
        </p:nvSpPr>
        <p:spPr>
          <a:xfrm>
            <a:off x="597253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14" name="Oval 913"/>
          <p:cNvSpPr/>
          <p:nvPr/>
        </p:nvSpPr>
        <p:spPr>
          <a:xfrm>
            <a:off x="786901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15" name="Oval 914"/>
          <p:cNvSpPr/>
          <p:nvPr/>
        </p:nvSpPr>
        <p:spPr>
          <a:xfrm>
            <a:off x="723685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16" name="Oval 915"/>
          <p:cNvSpPr/>
          <p:nvPr/>
        </p:nvSpPr>
        <p:spPr>
          <a:xfrm>
            <a:off x="8501175" y="27439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17" name="Oval 916"/>
          <p:cNvSpPr/>
          <p:nvPr/>
        </p:nvSpPr>
        <p:spPr>
          <a:xfrm>
            <a:off x="534037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18" name="Oval 917"/>
          <p:cNvSpPr/>
          <p:nvPr/>
        </p:nvSpPr>
        <p:spPr>
          <a:xfrm>
            <a:off x="28309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19" name="Oval 918"/>
          <p:cNvSpPr/>
          <p:nvPr/>
        </p:nvSpPr>
        <p:spPr>
          <a:xfrm>
            <a:off x="91525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20" name="Oval 919"/>
          <p:cNvSpPr/>
          <p:nvPr/>
        </p:nvSpPr>
        <p:spPr>
          <a:xfrm>
            <a:off x="154741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21" name="Oval 920"/>
          <p:cNvSpPr/>
          <p:nvPr/>
        </p:nvSpPr>
        <p:spPr>
          <a:xfrm>
            <a:off x="217957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22" name="Oval 921"/>
          <p:cNvSpPr/>
          <p:nvPr/>
        </p:nvSpPr>
        <p:spPr>
          <a:xfrm>
            <a:off x="281173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23" name="Oval 922"/>
          <p:cNvSpPr/>
          <p:nvPr/>
        </p:nvSpPr>
        <p:spPr>
          <a:xfrm>
            <a:off x="344389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24" name="Oval 923"/>
          <p:cNvSpPr/>
          <p:nvPr/>
        </p:nvSpPr>
        <p:spPr>
          <a:xfrm>
            <a:off x="407605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25" name="Oval 924"/>
          <p:cNvSpPr/>
          <p:nvPr/>
        </p:nvSpPr>
        <p:spPr>
          <a:xfrm>
            <a:off x="470821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26" name="Oval 925"/>
          <p:cNvSpPr/>
          <p:nvPr/>
        </p:nvSpPr>
        <p:spPr>
          <a:xfrm>
            <a:off x="660469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27" name="Oval 926"/>
          <p:cNvSpPr/>
          <p:nvPr/>
        </p:nvSpPr>
        <p:spPr>
          <a:xfrm>
            <a:off x="597253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28" name="Oval 927"/>
          <p:cNvSpPr/>
          <p:nvPr/>
        </p:nvSpPr>
        <p:spPr>
          <a:xfrm>
            <a:off x="786901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29" name="Oval 928"/>
          <p:cNvSpPr/>
          <p:nvPr/>
        </p:nvSpPr>
        <p:spPr>
          <a:xfrm>
            <a:off x="723685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30" name="Oval 929"/>
          <p:cNvSpPr/>
          <p:nvPr/>
        </p:nvSpPr>
        <p:spPr>
          <a:xfrm>
            <a:off x="8501175" y="908517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31" name="Oval 930"/>
          <p:cNvSpPr/>
          <p:nvPr/>
        </p:nvSpPr>
        <p:spPr>
          <a:xfrm>
            <a:off x="534037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32" name="Oval 931"/>
          <p:cNvSpPr/>
          <p:nvPr/>
        </p:nvSpPr>
        <p:spPr>
          <a:xfrm>
            <a:off x="28309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33" name="Oval 932"/>
          <p:cNvSpPr/>
          <p:nvPr/>
        </p:nvSpPr>
        <p:spPr>
          <a:xfrm>
            <a:off x="91525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34" name="Oval 933"/>
          <p:cNvSpPr/>
          <p:nvPr/>
        </p:nvSpPr>
        <p:spPr>
          <a:xfrm>
            <a:off x="154741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35" name="Oval 934"/>
          <p:cNvSpPr/>
          <p:nvPr/>
        </p:nvSpPr>
        <p:spPr>
          <a:xfrm>
            <a:off x="217957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36" name="Oval 935"/>
          <p:cNvSpPr/>
          <p:nvPr/>
        </p:nvSpPr>
        <p:spPr>
          <a:xfrm>
            <a:off x="281173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37" name="Oval 936"/>
          <p:cNvSpPr/>
          <p:nvPr/>
        </p:nvSpPr>
        <p:spPr>
          <a:xfrm>
            <a:off x="344389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38" name="Oval 937"/>
          <p:cNvSpPr/>
          <p:nvPr/>
        </p:nvSpPr>
        <p:spPr>
          <a:xfrm>
            <a:off x="407605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39" name="Oval 938"/>
          <p:cNvSpPr/>
          <p:nvPr/>
        </p:nvSpPr>
        <p:spPr>
          <a:xfrm>
            <a:off x="470821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40" name="Oval 939"/>
          <p:cNvSpPr/>
          <p:nvPr/>
        </p:nvSpPr>
        <p:spPr>
          <a:xfrm>
            <a:off x="660469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41" name="Oval 940"/>
          <p:cNvSpPr/>
          <p:nvPr/>
        </p:nvSpPr>
        <p:spPr>
          <a:xfrm>
            <a:off x="597253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42" name="Oval 941"/>
          <p:cNvSpPr/>
          <p:nvPr/>
        </p:nvSpPr>
        <p:spPr>
          <a:xfrm>
            <a:off x="786901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43" name="Oval 942"/>
          <p:cNvSpPr/>
          <p:nvPr/>
        </p:nvSpPr>
        <p:spPr>
          <a:xfrm>
            <a:off x="723685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44" name="Oval 943"/>
          <p:cNvSpPr/>
          <p:nvPr/>
        </p:nvSpPr>
        <p:spPr>
          <a:xfrm>
            <a:off x="8501175" y="1540465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45" name="Oval 944"/>
          <p:cNvSpPr/>
          <p:nvPr/>
        </p:nvSpPr>
        <p:spPr>
          <a:xfrm>
            <a:off x="534037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46" name="Oval 945"/>
          <p:cNvSpPr/>
          <p:nvPr/>
        </p:nvSpPr>
        <p:spPr>
          <a:xfrm>
            <a:off x="28309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47" name="Oval 946"/>
          <p:cNvSpPr/>
          <p:nvPr/>
        </p:nvSpPr>
        <p:spPr>
          <a:xfrm>
            <a:off x="91525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48" name="Oval 947"/>
          <p:cNvSpPr/>
          <p:nvPr/>
        </p:nvSpPr>
        <p:spPr>
          <a:xfrm>
            <a:off x="154741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49" name="Oval 948"/>
          <p:cNvSpPr/>
          <p:nvPr/>
        </p:nvSpPr>
        <p:spPr>
          <a:xfrm>
            <a:off x="217957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50" name="Oval 949"/>
          <p:cNvSpPr/>
          <p:nvPr/>
        </p:nvSpPr>
        <p:spPr>
          <a:xfrm>
            <a:off x="281173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51" name="Oval 950"/>
          <p:cNvSpPr/>
          <p:nvPr/>
        </p:nvSpPr>
        <p:spPr>
          <a:xfrm>
            <a:off x="344389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52" name="Oval 951"/>
          <p:cNvSpPr/>
          <p:nvPr/>
        </p:nvSpPr>
        <p:spPr>
          <a:xfrm>
            <a:off x="407605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53" name="Oval 952"/>
          <p:cNvSpPr/>
          <p:nvPr/>
        </p:nvSpPr>
        <p:spPr>
          <a:xfrm>
            <a:off x="470821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54" name="Oval 953"/>
          <p:cNvSpPr/>
          <p:nvPr/>
        </p:nvSpPr>
        <p:spPr>
          <a:xfrm>
            <a:off x="660469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55" name="Oval 954"/>
          <p:cNvSpPr/>
          <p:nvPr/>
        </p:nvSpPr>
        <p:spPr>
          <a:xfrm>
            <a:off x="597253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56" name="Oval 955"/>
          <p:cNvSpPr/>
          <p:nvPr/>
        </p:nvSpPr>
        <p:spPr>
          <a:xfrm>
            <a:off x="786901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57" name="Oval 956"/>
          <p:cNvSpPr/>
          <p:nvPr/>
        </p:nvSpPr>
        <p:spPr>
          <a:xfrm>
            <a:off x="723685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58" name="Oval 957"/>
          <p:cNvSpPr/>
          <p:nvPr/>
        </p:nvSpPr>
        <p:spPr>
          <a:xfrm>
            <a:off x="8501175" y="2176969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59" name="Oval 958"/>
          <p:cNvSpPr/>
          <p:nvPr/>
        </p:nvSpPr>
        <p:spPr>
          <a:xfrm>
            <a:off x="534037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60" name="Oval 959"/>
          <p:cNvSpPr/>
          <p:nvPr/>
        </p:nvSpPr>
        <p:spPr>
          <a:xfrm>
            <a:off x="28309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61" name="Oval 960"/>
          <p:cNvSpPr/>
          <p:nvPr/>
        </p:nvSpPr>
        <p:spPr>
          <a:xfrm>
            <a:off x="91525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62" name="Oval 961"/>
          <p:cNvSpPr/>
          <p:nvPr/>
        </p:nvSpPr>
        <p:spPr>
          <a:xfrm>
            <a:off x="154741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63" name="Oval 962"/>
          <p:cNvSpPr/>
          <p:nvPr/>
        </p:nvSpPr>
        <p:spPr>
          <a:xfrm>
            <a:off x="217957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64" name="Oval 963"/>
          <p:cNvSpPr/>
          <p:nvPr/>
        </p:nvSpPr>
        <p:spPr>
          <a:xfrm>
            <a:off x="281173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65" name="Oval 964"/>
          <p:cNvSpPr/>
          <p:nvPr/>
        </p:nvSpPr>
        <p:spPr>
          <a:xfrm>
            <a:off x="344389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66" name="Oval 965"/>
          <p:cNvSpPr/>
          <p:nvPr/>
        </p:nvSpPr>
        <p:spPr>
          <a:xfrm>
            <a:off x="407605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67" name="Oval 966"/>
          <p:cNvSpPr/>
          <p:nvPr/>
        </p:nvSpPr>
        <p:spPr>
          <a:xfrm>
            <a:off x="470821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68" name="Oval 967"/>
          <p:cNvSpPr/>
          <p:nvPr/>
        </p:nvSpPr>
        <p:spPr>
          <a:xfrm>
            <a:off x="660469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69" name="Oval 968"/>
          <p:cNvSpPr/>
          <p:nvPr/>
        </p:nvSpPr>
        <p:spPr>
          <a:xfrm>
            <a:off x="597253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70" name="Oval 969"/>
          <p:cNvSpPr/>
          <p:nvPr/>
        </p:nvSpPr>
        <p:spPr>
          <a:xfrm>
            <a:off x="786901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71" name="Oval 970"/>
          <p:cNvSpPr/>
          <p:nvPr/>
        </p:nvSpPr>
        <p:spPr>
          <a:xfrm>
            <a:off x="723685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972" name="Oval 971"/>
          <p:cNvSpPr/>
          <p:nvPr/>
        </p:nvSpPr>
        <p:spPr>
          <a:xfrm>
            <a:off x="8501175" y="2810103"/>
            <a:ext cx="75011" cy="75011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720103"/>
            <a:ext cx="5829300" cy="1097280"/>
          </a:xfrm>
        </p:spPr>
        <p:txBody>
          <a:bodyPr anchor="ctr">
            <a:normAutofit/>
          </a:bodyPr>
          <a:lstStyle>
            <a:lvl1pPr algn="r">
              <a:defRPr sz="3750" b="0" spc="150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57950" y="3720103"/>
            <a:ext cx="2400300" cy="1097280"/>
          </a:xfrm>
        </p:spPr>
        <p:txBody>
          <a:bodyPr lIns="91440" tIns="45720" rIns="91440" bIns="4572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5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6290132" y="3948080"/>
            <a:ext cx="0" cy="68580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024466"/>
      </p:ext>
    </p:extLst>
  </p:cSld>
  <p:clrMapOvr>
    <a:masterClrMapping/>
  </p:clrMapOvr>
  <p:hf hdr="0" ft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096" y="438912"/>
            <a:ext cx="7290054" cy="112471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8096" y="1714500"/>
            <a:ext cx="3566160" cy="30175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91990" y="1714500"/>
            <a:ext cx="3566160" cy="30175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0623326"/>
      </p:ext>
    </p:extLst>
  </p:cSld>
  <p:clrMapOvr>
    <a:masterClrMapping/>
  </p:clrMapOvr>
  <p:hf hdr="0" ft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68096" y="438912"/>
            <a:ext cx="7290054" cy="112471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" y="1634727"/>
            <a:ext cx="3566160" cy="61722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725" b="0" cap="none" baseline="0">
                <a:solidFill>
                  <a:schemeClr val="accent3"/>
                </a:solidFill>
                <a:latin typeface="+mn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8096" y="2225841"/>
            <a:ext cx="3566160" cy="25061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91990" y="1634727"/>
            <a:ext cx="3566160" cy="61722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725" b="0" kern="1200" cap="none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135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91990" y="2225841"/>
            <a:ext cx="3566160" cy="25061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2881352"/>
      </p:ext>
    </p:extLst>
  </p:cSld>
  <p:clrMapOvr>
    <a:masterClrMapping/>
  </p:clrMapOvr>
  <p:hf hdr="0" ftr="0" dt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8120136"/>
      </p:ext>
    </p:extLst>
  </p:cSld>
  <p:clrMapOvr>
    <a:masterClrMapping/>
  </p:clrMapOvr>
  <p:hf hdr="0" ft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6447394"/>
      </p:ext>
    </p:extLst>
  </p:cSld>
  <p:clrMapOvr>
    <a:masterClrMapping/>
  </p:clrMapOvr>
  <p:hf hdr="0" ftr="0" dt="0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8096" y="353632"/>
            <a:ext cx="3291840" cy="130302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0" y="617220"/>
            <a:ext cx="4258818" cy="388848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096" y="1693129"/>
            <a:ext cx="3291840" cy="2821721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450"/>
              </a:spcBef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3185486"/>
      </p:ext>
    </p:extLst>
  </p:cSld>
  <p:clrMapOvr>
    <a:masterClrMapping/>
  </p:clrMapOvr>
  <p:hf hdr="0" ftr="0" dt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720104"/>
            <a:ext cx="5829300" cy="1097280"/>
          </a:xfrm>
        </p:spPr>
        <p:txBody>
          <a:bodyPr anchor="ctr">
            <a:normAutofit/>
          </a:bodyPr>
          <a:lstStyle>
            <a:lvl1pPr algn="r">
              <a:defRPr sz="3750" spc="150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9141714" cy="3429000"/>
          </a:xfrm>
          <a:solidFill>
            <a:schemeClr val="accent3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7950" y="3720104"/>
            <a:ext cx="2400300" cy="109728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5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6290132" y="3948080"/>
            <a:ext cx="0" cy="6858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3512577"/>
      </p:ext>
    </p:extLst>
  </p:cSld>
  <p:clrMapOvr>
    <a:masterClrMapping/>
  </p:clrMapOvr>
  <p:hf hdr="0" ftr="0" dt="0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7910238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255588" y="998538"/>
            <a:ext cx="8650287" cy="3595687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919170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571500"/>
            <a:ext cx="1971675" cy="4057650"/>
          </a:xfrm>
        </p:spPr>
        <p:txBody>
          <a:bodyPr vert="eaVert" lIns="45720" tIns="91440" rIns="45720" bIns="91440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2950" y="571500"/>
            <a:ext cx="5686425" cy="40576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7543800" y="44447"/>
            <a:ext cx="0" cy="6858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5985995"/>
      </p:ext>
    </p:extLst>
  </p:cSld>
  <p:clrMapOvr>
    <a:masterClrMapping/>
  </p:clrMapOvr>
  <p:hf hdr="0" ftr="0" dt="0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90985907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749303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>
            <a:endCxn id="36" idx="3"/>
          </p:cNvCxnSpPr>
          <p:nvPr/>
        </p:nvCxnSpPr>
        <p:spPr bwMode="auto">
          <a:xfrm flipH="1" flipV="1">
            <a:off x="5104601" y="4659166"/>
            <a:ext cx="4039404" cy="3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/>
          <p:nvPr/>
        </p:nvCxnSpPr>
        <p:spPr bwMode="auto">
          <a:xfrm>
            <a:off x="2" y="4659165"/>
            <a:ext cx="384016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Группа 3"/>
          <p:cNvGrpSpPr/>
          <p:nvPr/>
        </p:nvGrpSpPr>
        <p:grpSpPr>
          <a:xfrm>
            <a:off x="9181869" y="3"/>
            <a:ext cx="2781533" cy="51434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6" name="TextBox 35"/>
          <p:cNvSpPr txBox="1"/>
          <p:nvPr/>
        </p:nvSpPr>
        <p:spPr>
          <a:xfrm>
            <a:off x="3819313" y="4520666"/>
            <a:ext cx="1285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ООО «СИБУР»</a:t>
            </a:r>
          </a:p>
        </p:txBody>
      </p:sp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58FCD8F3-C746-4DE4-8045-39CBABF7AD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1619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8823143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3100561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168897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255600" y="230411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255600" y="291925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255600" y="353439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255600" y="414953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C26854C-9590-4F77-A1DA-AD30F168CD3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5648" y="100101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C1560EF-8C42-46D3-A113-AED54EB909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617681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7ABE165-F729-425A-9522-F3ACCC449C7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2234345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9A3E6EC-E939-43BF-BEAA-BE9928A833D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2851009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451A043-E6A6-452E-BB24-0D7E5BCFDF5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3467673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27E7D48-BBF6-4E78-B5EB-487E2B77411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408433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566514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49963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9C594E9-F98C-4ECD-BBE5-1A777FD07C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BB7B1C5-0535-4FD0-9141-E4811B53E2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989DD66-5540-48DC-A10A-5DDAB08B011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92F8E39-E868-4536-A12D-FD1C3FBCA9C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BE6F9E0F-6B32-4528-B792-28DB2E17C00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1A60B29-3714-4301-95B5-4828A8E2C17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6565569-AD3D-4D67-9D0D-713544D2377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5227" y="1001016"/>
            <a:ext cx="2646774" cy="375228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599" y="4755454"/>
            <a:ext cx="5989628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CE97842-6475-454B-98E4-01D23229437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5B98125D-1849-4AF0-BE91-E7620FA2CD9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68FBEC0-B9BA-476B-ABDD-7E71B00EE8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29092CD-E822-4EDC-B8B6-0CD610BF5A3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7D889CD-8958-4384-9905-DA3BB80B463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9CFB8B23-03A2-49E8-B1D0-9DC2CBF3B7D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B760FD3-9F71-474E-8525-B92C26CC945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предпосыл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967120"/>
            <a:ext cx="2804795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980792E-90B1-44B5-8002-FDCADECFF35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185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5500CAD4-F3E7-4A42-9896-E4DE9E9D76B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85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C1581854-5F88-478E-B1DF-C7C6B47143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185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AD4FB18-41A7-45E9-8170-51281C4A35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185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728204F5-9978-458C-B886-0FE2D703C4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185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CD3562CE-A3F4-466B-A9D3-AC2175F868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7185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5CE170A8-BA82-4FE4-ADC7-72FC991D90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185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64020" y="204540"/>
            <a:ext cx="552798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36402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D1C6CFE-3B42-4E68-8F90-D16CA3CB581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84406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36402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EC294AA-CA93-448B-8CDF-AABD8FA081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84406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36402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181702C2-B12F-4EAE-994D-1092DDAA840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84406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36402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09921A7-5A7D-429D-98F8-5C3D0D68DF4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84406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36402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CE4F2F3-D83C-44A2-ADA5-3A2B4310AC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4406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36402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755A123-151B-4050-A5F3-4A9019222E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84406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6402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D5355F9-7F30-4BD3-9D56-6F134F19492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4406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ле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85357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пра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5601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600" y="4755454"/>
            <a:ext cx="4106641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53954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255588" y="842963"/>
            <a:ext cx="4210050" cy="38163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/>
          </p:nvPr>
        </p:nvSpPr>
        <p:spPr>
          <a:xfrm>
            <a:off x="4681950" y="842963"/>
            <a:ext cx="4210050" cy="38163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5440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>
            <a:endCxn id="32" idx="3"/>
          </p:cNvCxnSpPr>
          <p:nvPr/>
        </p:nvCxnSpPr>
        <p:spPr bwMode="auto">
          <a:xfrm flipH="1" flipV="1">
            <a:off x="5764121" y="4656786"/>
            <a:ext cx="3369172" cy="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endCxn id="32" idx="1"/>
          </p:cNvCxnSpPr>
          <p:nvPr/>
        </p:nvCxnSpPr>
        <p:spPr bwMode="auto">
          <a:xfrm flipV="1">
            <a:off x="-834" y="4656786"/>
            <a:ext cx="3819165" cy="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Группа 3"/>
          <p:cNvGrpSpPr/>
          <p:nvPr/>
        </p:nvGrpSpPr>
        <p:grpSpPr>
          <a:xfrm>
            <a:off x="9220086" y="3"/>
            <a:ext cx="2781533" cy="5143499"/>
            <a:chOff x="9220084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220084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1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1" dirty="0">
                  <a:solidFill>
                    <a:schemeClr val="bg1"/>
                  </a:solidFill>
                </a:rPr>
              </a:br>
              <a:r>
                <a:rPr lang="ru-RU" sz="12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94809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94809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94809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94809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94809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94809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94809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94809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94809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94809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94811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94811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94811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94811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9294811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9294811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9294811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9294811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9294811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65" name="Прямая соединительная линия 64"/>
            <p:cNvCxnSpPr/>
            <p:nvPr/>
          </p:nvCxnSpPr>
          <p:spPr bwMode="auto">
            <a:xfrm>
              <a:off x="9791817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2" name="TextBox 31"/>
          <p:cNvSpPr txBox="1"/>
          <p:nvPr/>
        </p:nvSpPr>
        <p:spPr>
          <a:xfrm>
            <a:off x="3818331" y="4518286"/>
            <a:ext cx="19457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ПАО «СИБУР Холдинг»</a:t>
            </a:r>
          </a:p>
        </p:txBody>
      </p: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02D23F4-C02D-4C1E-BE41-8B09B121FF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8612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8"/>
          <p:cNvSpPr>
            <a:spLocks noGrp="1"/>
          </p:cNvSpPr>
          <p:nvPr>
            <p:ph type="body" sz="quarter" idx="22"/>
          </p:nvPr>
        </p:nvSpPr>
        <p:spPr>
          <a:xfrm>
            <a:off x="4667663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/>
          </p:nvPr>
        </p:nvSpPr>
        <p:spPr>
          <a:xfrm>
            <a:off x="255588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DC95F010-2C41-49B4-994C-8AE1F73A8DE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776C387D-3753-4B75-92C6-5D3702D4152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3185618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диаграммы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8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4667663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99649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фото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7" hasCustomPrompt="1"/>
          </p:nvPr>
        </p:nvSpPr>
        <p:spPr>
          <a:xfrm>
            <a:off x="255588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4667663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9986228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0825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67663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5923347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46692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4377472-2581-4B39-80AE-581E00F855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5588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B92BB08-C89E-41B5-A110-42DDF113B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67663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D5CA91E-9AC8-4158-AA35-A1935E3551E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5588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B00560-4053-45AA-85D0-1C55BA3D54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67663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727200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139627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722427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1" hasCustomPrompt="1"/>
          </p:nvPr>
        </p:nvSpPr>
        <p:spPr>
          <a:xfrm>
            <a:off x="5134854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3817250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2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5ACD6DB4-4E35-4BB8-8994-407B920DEDB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1DB96461-00C9-4618-B085-BC875E29CDA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Рисунок 14">
            <a:extLst>
              <a:ext uri="{FF2B5EF4-FFF2-40B4-BE49-F238E27FC236}">
                <a16:creationId xmlns:a16="http://schemas.microsoft.com/office/drawing/2014/main" id="{4CE4A8B4-2328-4C2C-A1F8-423D7177476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B1AEF316-0FE1-4213-A402-302C31640C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Рисунок 14">
            <a:extLst>
              <a:ext uri="{FF2B5EF4-FFF2-40B4-BE49-F238E27FC236}">
                <a16:creationId xmlns:a16="http://schemas.microsoft.com/office/drawing/2014/main" id="{64CD6F6C-3BD6-4982-9A80-480DEEF6FE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E2D9583-6670-486A-A170-4B7E3AAD45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35648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Рисунок 14">
            <a:extLst>
              <a:ext uri="{FF2B5EF4-FFF2-40B4-BE49-F238E27FC236}">
                <a16:creationId xmlns:a16="http://schemas.microsoft.com/office/drawing/2014/main" id="{B2679DE3-113C-45B0-9FBB-84C80D90A2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DC34E2AE-DCD6-46D1-A1D1-59D43290768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5648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Рисунок 14">
            <a:extLst>
              <a:ext uri="{FF2B5EF4-FFF2-40B4-BE49-F238E27FC236}">
                <a16:creationId xmlns:a16="http://schemas.microsoft.com/office/drawing/2014/main" id="{95B65BCB-FAFB-4949-9DA5-6DD965EF5DD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DF6D2344-1F01-4E57-B29B-777B243901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35648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Рисунок 14">
            <a:extLst>
              <a:ext uri="{FF2B5EF4-FFF2-40B4-BE49-F238E27FC236}">
                <a16:creationId xmlns:a16="http://schemas.microsoft.com/office/drawing/2014/main" id="{B338637A-8816-44B7-BB19-C9702D023F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970B49F-E8D0-42E9-906A-E1BE3761811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5648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Рисунок 14">
            <a:extLst>
              <a:ext uri="{FF2B5EF4-FFF2-40B4-BE49-F238E27FC236}">
                <a16:creationId xmlns:a16="http://schemas.microsoft.com/office/drawing/2014/main" id="{DEB00967-6AE4-4995-9A85-2356A9A4899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A098F644-4A32-41C9-AB95-DC7B1A2CBBA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35648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Рисунок 14">
            <a:extLst>
              <a:ext uri="{FF2B5EF4-FFF2-40B4-BE49-F238E27FC236}">
                <a16:creationId xmlns:a16="http://schemas.microsoft.com/office/drawing/2014/main" id="{52790202-17E3-482C-BBC7-0FDC08AA8D9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821878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0596A83C-CB24-431E-B6CA-8EAEEF87F2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01926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Рисунок 14">
            <a:extLst>
              <a:ext uri="{FF2B5EF4-FFF2-40B4-BE49-F238E27FC236}">
                <a16:creationId xmlns:a16="http://schemas.microsoft.com/office/drawing/2014/main" id="{98CCCF76-0F0D-4468-B476-98F7E5F193DB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821878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A14B70F-4E5F-4E68-A232-DB29D948250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01926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Рисунок 14">
            <a:extLst>
              <a:ext uri="{FF2B5EF4-FFF2-40B4-BE49-F238E27FC236}">
                <a16:creationId xmlns:a16="http://schemas.microsoft.com/office/drawing/2014/main" id="{B12EAE96-E1E7-4AEA-BE1F-929DC6D7DACD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821878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9563D9A-CED2-4ECA-8A37-BF67DAC51F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301926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Рисунок 14">
            <a:extLst>
              <a:ext uri="{FF2B5EF4-FFF2-40B4-BE49-F238E27FC236}">
                <a16:creationId xmlns:a16="http://schemas.microsoft.com/office/drawing/2014/main" id="{F9F1D5B1-7350-461F-BEC4-A02D9209AA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821878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FB3655B-D02C-4974-B8BB-52053EF46F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301926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Рисунок 14">
            <a:extLst>
              <a:ext uri="{FF2B5EF4-FFF2-40B4-BE49-F238E27FC236}">
                <a16:creationId xmlns:a16="http://schemas.microsoft.com/office/drawing/2014/main" id="{DE3ECA66-605C-4EA2-80FD-5D3DD5A9751C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821878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EDA554DC-64B4-4829-893F-1BE738AADB2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301926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Рисунок 14">
            <a:extLst>
              <a:ext uri="{FF2B5EF4-FFF2-40B4-BE49-F238E27FC236}">
                <a16:creationId xmlns:a16="http://schemas.microsoft.com/office/drawing/2014/main" id="{FC35F83D-02DD-4749-A458-B5EBA5DEC17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821878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B76B11AD-817F-47DD-B055-F17D2333517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301926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1" name="Рисунок 14">
            <a:extLst>
              <a:ext uri="{FF2B5EF4-FFF2-40B4-BE49-F238E27FC236}">
                <a16:creationId xmlns:a16="http://schemas.microsoft.com/office/drawing/2014/main" id="{D6937FE5-2DC9-467B-B2CB-1E208EC0346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821878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30E2FE77-DADE-42E6-BD8F-386BE6C5C2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301926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5976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5601" y="1324799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58377" y="1324800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516632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89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90249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13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51107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69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3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09058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новое фото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 bwMode="auto">
          <a:xfrm>
            <a:off x="0" y="0"/>
            <a:ext cx="9144000" cy="5144400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55000"/>
                </a:srgbClr>
              </a:gs>
              <a:gs pos="74000">
                <a:schemeClr val="accent1">
                  <a:alpha val="36000"/>
                </a:schemeClr>
              </a:gs>
              <a:gs pos="100000">
                <a:schemeClr val="accent1">
                  <a:alpha val="1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0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051130" y="1400495"/>
            <a:ext cx="7216570" cy="1441767"/>
          </a:xfrm>
          <a:effectLst/>
        </p:spPr>
        <p:txBody>
          <a:bodyPr>
            <a:normAutofit/>
          </a:bodyPr>
          <a:lstStyle>
            <a:lvl1pPr>
              <a:defRPr lang="ru-RU" sz="32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50927" y="3149762"/>
            <a:ext cx="7216773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50926" y="4140804"/>
            <a:ext cx="7216773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533" y="361700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058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560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2106419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205799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9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6156000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1218109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26636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185333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14705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3185333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6114705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8714352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9" hasCustomPrompt="1"/>
          </p:nvPr>
        </p:nvSpPr>
        <p:spPr>
          <a:xfrm>
            <a:off x="25558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Рисунок 12"/>
          <p:cNvSpPr>
            <a:spLocks noGrp="1"/>
          </p:cNvSpPr>
          <p:nvPr>
            <p:ph type="pic" sz="quarter" idx="20" hasCustomPrompt="1"/>
          </p:nvPr>
        </p:nvSpPr>
        <p:spPr>
          <a:xfrm>
            <a:off x="32065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61567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84080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3016445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2194555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2058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2058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5" hasCustomPrompt="1"/>
          </p:nvPr>
        </p:nvSpPr>
        <p:spPr>
          <a:xfrm>
            <a:off x="61560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6" hasCustomPrompt="1"/>
          </p:nvPr>
        </p:nvSpPr>
        <p:spPr>
          <a:xfrm>
            <a:off x="61560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652199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02400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703761" y="2802874"/>
            <a:ext cx="2298639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7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3652199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8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6602400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9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703761" y="828198"/>
            <a:ext cx="2298639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9864760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6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38"/>
          </p:nvPr>
        </p:nvSpPr>
        <p:spPr>
          <a:xfrm>
            <a:off x="6156000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6"/>
          <p:cNvSpPr>
            <a:spLocks noGrp="1"/>
          </p:cNvSpPr>
          <p:nvPr>
            <p:ph sz="quarter" idx="39"/>
          </p:nvPr>
        </p:nvSpPr>
        <p:spPr>
          <a:xfrm>
            <a:off x="6156000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6276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85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1294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09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32488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4624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6875999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4195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фоновое фото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4172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9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7670510" y="331723"/>
            <a:ext cx="1159938" cy="36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0" y="984813"/>
            <a:ext cx="5291667" cy="324128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2540" y="1210582"/>
            <a:ext cx="4645860" cy="1441767"/>
          </a:xfrm>
          <a:effectLst/>
        </p:spPr>
        <p:txBody>
          <a:bodyPr>
            <a:normAutofit/>
          </a:bodyPr>
          <a:lstStyle>
            <a:lvl1pPr>
              <a:defRPr lang="ru-RU" sz="28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32338" y="2737470"/>
            <a:ext cx="4645990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2337" y="3614591"/>
            <a:ext cx="4645990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820" y="428923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2064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2461064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466653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Диаграмма 13"/>
          <p:cNvSpPr>
            <a:spLocks noGrp="1"/>
          </p:cNvSpPr>
          <p:nvPr>
            <p:ph type="chart" sz="quarter" idx="25" hasCustomPrompt="1"/>
          </p:nvPr>
        </p:nvSpPr>
        <p:spPr>
          <a:xfrm>
            <a:off x="6872013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4624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46692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8759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6530123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277727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фото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7"/>
          </p:nvPr>
        </p:nvSpPr>
        <p:spPr>
          <a:xfrm>
            <a:off x="255701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/>
          </p:nvPr>
        </p:nvSpPr>
        <p:spPr>
          <a:xfrm>
            <a:off x="246654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19"/>
          </p:nvPr>
        </p:nvSpPr>
        <p:spPr>
          <a:xfrm>
            <a:off x="46692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20"/>
          </p:nvPr>
        </p:nvSpPr>
        <p:spPr>
          <a:xfrm>
            <a:off x="68761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9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42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7550458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4022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8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79791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74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33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Текст 2"/>
          <p:cNvSpPr>
            <a:spLocks noGrp="1"/>
          </p:cNvSpPr>
          <p:nvPr>
            <p:ph type="body" idx="47" hasCustomPrompt="1"/>
          </p:nvPr>
        </p:nvSpPr>
        <p:spPr>
          <a:xfrm>
            <a:off x="2555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48" hasCustomPrompt="1"/>
          </p:nvPr>
        </p:nvSpPr>
        <p:spPr>
          <a:xfrm>
            <a:off x="24624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Текст 2"/>
          <p:cNvSpPr>
            <a:spLocks noGrp="1"/>
          </p:cNvSpPr>
          <p:nvPr>
            <p:ph type="body" idx="49" hasCustomPrompt="1"/>
          </p:nvPr>
        </p:nvSpPr>
        <p:spPr>
          <a:xfrm>
            <a:off x="46692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7" name="Текст 2"/>
          <p:cNvSpPr>
            <a:spLocks noGrp="1"/>
          </p:cNvSpPr>
          <p:nvPr>
            <p:ph type="body" idx="50" hasCustomPrompt="1"/>
          </p:nvPr>
        </p:nvSpPr>
        <p:spPr>
          <a:xfrm>
            <a:off x="68759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601968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5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01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00940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763212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5517019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00940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00940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763212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763212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5517019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5517019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727082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200940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763212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5517019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727082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727317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727317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5086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6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25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170927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16295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461663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170927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170927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16295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16295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461663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461663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607031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170927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16295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461663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607031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607031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607031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Текст 2"/>
          <p:cNvSpPr>
            <a:spLocks noGrp="1"/>
          </p:cNvSpPr>
          <p:nvPr>
            <p:ph type="body" idx="61" hasCustomPrompt="1"/>
          </p:nvPr>
        </p:nvSpPr>
        <p:spPr>
          <a:xfrm>
            <a:off x="7524000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62" hasCustomPrompt="1"/>
          </p:nvPr>
        </p:nvSpPr>
        <p:spPr>
          <a:xfrm>
            <a:off x="7524000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Content Placeholder 6"/>
          <p:cNvSpPr>
            <a:spLocks noGrp="1"/>
          </p:cNvSpPr>
          <p:nvPr>
            <p:ph sz="quarter" idx="63"/>
          </p:nvPr>
        </p:nvSpPr>
        <p:spPr>
          <a:xfrm>
            <a:off x="7524000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Content Placeholder 6"/>
          <p:cNvSpPr>
            <a:spLocks noGrp="1"/>
          </p:cNvSpPr>
          <p:nvPr>
            <p:ph sz="quarter" idx="64"/>
          </p:nvPr>
        </p:nvSpPr>
        <p:spPr>
          <a:xfrm>
            <a:off x="7524000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63474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шага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3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1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81537260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шагов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22333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1996236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3744793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493350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7233987" y="828760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004157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554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4933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70111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Титульный фоновое фото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35027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36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3869267" y="984813"/>
            <a:ext cx="5274733" cy="324128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123267" y="1210582"/>
            <a:ext cx="4761175" cy="1441767"/>
          </a:xfrm>
          <a:effectLst/>
        </p:spPr>
        <p:txBody>
          <a:bodyPr>
            <a:normAutofit/>
          </a:bodyPr>
          <a:lstStyle>
            <a:lvl1pPr>
              <a:defRPr lang="ru-RU" sz="28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23047" y="2737470"/>
            <a:ext cx="4761308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123046" y="3614591"/>
            <a:ext cx="4761308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31" name="Rectangle 30"/>
          <p:cNvSpPr/>
          <p:nvPr/>
        </p:nvSpPr>
        <p:spPr bwMode="auto">
          <a:xfrm>
            <a:off x="312248" y="331723"/>
            <a:ext cx="1114216" cy="36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188" y="428923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1295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Арка 6"/>
          <p:cNvSpPr/>
          <p:nvPr/>
        </p:nvSpPr>
        <p:spPr bwMode="auto">
          <a:xfrm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Арка 7"/>
          <p:cNvSpPr/>
          <p:nvPr/>
        </p:nvSpPr>
        <p:spPr bwMode="auto">
          <a:xfrm rot="54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Арка 8"/>
          <p:cNvSpPr/>
          <p:nvPr/>
        </p:nvSpPr>
        <p:spPr bwMode="auto">
          <a:xfrm rot="10800000"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latin typeface="Arial" charset="0"/>
            </a:endParaRPr>
          </a:p>
        </p:txBody>
      </p:sp>
      <p:sp>
        <p:nvSpPr>
          <p:cNvPr id="10" name="Арка 9"/>
          <p:cNvSpPr/>
          <p:nvPr/>
        </p:nvSpPr>
        <p:spPr bwMode="auto">
          <a:xfrm rot="162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Нашивка 14"/>
          <p:cNvSpPr/>
          <p:nvPr/>
        </p:nvSpPr>
        <p:spPr bwMode="auto">
          <a:xfrm>
            <a:off x="4455098" y="1318908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Нашивка 15"/>
          <p:cNvSpPr/>
          <p:nvPr/>
        </p:nvSpPr>
        <p:spPr bwMode="auto">
          <a:xfrm rot="5400000">
            <a:off x="5663864" y="2516304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Нашивка 16"/>
          <p:cNvSpPr/>
          <p:nvPr/>
        </p:nvSpPr>
        <p:spPr bwMode="auto">
          <a:xfrm flipH="1">
            <a:off x="4482394" y="3722311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Нашивка 17"/>
          <p:cNvSpPr/>
          <p:nvPr/>
        </p:nvSpPr>
        <p:spPr bwMode="auto">
          <a:xfrm rot="16200000">
            <a:off x="3253640" y="2530437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255588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255588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19"/>
          <p:cNvSpPr>
            <a:spLocks noGrp="1"/>
          </p:cNvSpPr>
          <p:nvPr>
            <p:ph type="body" sz="quarter" idx="15"/>
          </p:nvPr>
        </p:nvSpPr>
        <p:spPr>
          <a:xfrm>
            <a:off x="6191482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19"/>
          <p:cNvSpPr>
            <a:spLocks noGrp="1"/>
          </p:cNvSpPr>
          <p:nvPr>
            <p:ph type="body" sz="quarter" idx="16"/>
          </p:nvPr>
        </p:nvSpPr>
        <p:spPr>
          <a:xfrm>
            <a:off x="6191482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97B8803-CFBE-46D2-94F3-1E13B37C26DB}"/>
              </a:ext>
            </a:extLst>
          </p:cNvPr>
          <p:cNvSpPr/>
          <p:nvPr/>
        </p:nvSpPr>
        <p:spPr bwMode="auto">
          <a:xfrm>
            <a:off x="2995684" y="1501255"/>
            <a:ext cx="630960" cy="173509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32EE881-8F18-4976-B14A-133BBEF93D70}"/>
              </a:ext>
            </a:extLst>
          </p:cNvPr>
          <p:cNvSpPr/>
          <p:nvPr/>
        </p:nvSpPr>
        <p:spPr bwMode="auto">
          <a:xfrm flipV="1">
            <a:off x="2995684" y="3782109"/>
            <a:ext cx="721056" cy="178463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5FFE1BE-F468-41E4-AC57-73F3A5F795C0}"/>
              </a:ext>
            </a:extLst>
          </p:cNvPr>
          <p:cNvSpPr/>
          <p:nvPr/>
        </p:nvSpPr>
        <p:spPr bwMode="auto">
          <a:xfrm flipH="1">
            <a:off x="5591864" y="1501255"/>
            <a:ext cx="591174" cy="213654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57AF606-9A31-48E6-BA8D-C5D2AD7F0440}"/>
              </a:ext>
            </a:extLst>
          </p:cNvPr>
          <p:cNvSpPr/>
          <p:nvPr/>
        </p:nvSpPr>
        <p:spPr bwMode="auto">
          <a:xfrm flipH="1" flipV="1">
            <a:off x="5500048" y="3782111"/>
            <a:ext cx="682990" cy="178462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00804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grpSp>
        <p:nvGrpSpPr>
          <p:cNvPr id="6" name="Группа 5"/>
          <p:cNvGrpSpPr/>
          <p:nvPr/>
        </p:nvGrpSpPr>
        <p:grpSpPr>
          <a:xfrm rot="1829240">
            <a:off x="3303218" y="1554182"/>
            <a:ext cx="2637368" cy="2569106"/>
            <a:chOff x="62794" y="1435622"/>
            <a:chExt cx="2880788" cy="2806226"/>
          </a:xfrm>
        </p:grpSpPr>
        <p:sp>
          <p:nvSpPr>
            <p:cNvPr id="7" name="Арка 6"/>
            <p:cNvSpPr/>
            <p:nvPr/>
          </p:nvSpPr>
          <p:spPr bwMode="auto">
            <a:xfrm rot="16200000">
              <a:off x="96913" y="1442446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Арка 7"/>
            <p:cNvSpPr/>
            <p:nvPr/>
          </p:nvSpPr>
          <p:spPr bwMode="auto">
            <a:xfrm rot="-1800000">
              <a:off x="97612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Арка 8"/>
            <p:cNvSpPr/>
            <p:nvPr/>
          </p:nvSpPr>
          <p:spPr bwMode="auto">
            <a:xfrm rot="1800000">
              <a:off x="104438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Арка 9"/>
            <p:cNvSpPr/>
            <p:nvPr/>
          </p:nvSpPr>
          <p:spPr bwMode="auto">
            <a:xfrm rot="5400000">
              <a:off x="107411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Арка 10"/>
            <p:cNvSpPr/>
            <p:nvPr/>
          </p:nvSpPr>
          <p:spPr bwMode="auto">
            <a:xfrm rot="9000000">
              <a:off x="104437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Арка 11"/>
            <p:cNvSpPr/>
            <p:nvPr/>
          </p:nvSpPr>
          <p:spPr bwMode="auto">
            <a:xfrm rot="12600000">
              <a:off x="96912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Нашивка 26"/>
            <p:cNvSpPr/>
            <p:nvPr/>
          </p:nvSpPr>
          <p:spPr bwMode="auto">
            <a:xfrm rot="-1800000">
              <a:off x="736085" y="1578379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Нашивка 27"/>
            <p:cNvSpPr/>
            <p:nvPr/>
          </p:nvSpPr>
          <p:spPr bwMode="auto">
            <a:xfrm rot="1800000">
              <a:off x="1984852" y="1573617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Нашивка 28"/>
            <p:cNvSpPr/>
            <p:nvPr/>
          </p:nvSpPr>
          <p:spPr bwMode="auto">
            <a:xfrm rot="5400000">
              <a:off x="2619582" y="2644146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Нашивка 29"/>
            <p:cNvSpPr/>
            <p:nvPr/>
          </p:nvSpPr>
          <p:spPr bwMode="auto">
            <a:xfrm rot="9000000">
              <a:off x="1984852" y="3716435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Нашивка 30"/>
            <p:cNvSpPr/>
            <p:nvPr/>
          </p:nvSpPr>
          <p:spPr bwMode="auto">
            <a:xfrm rot="16200000">
              <a:off x="134794" y="2637322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Нашивка 31"/>
            <p:cNvSpPr/>
            <p:nvPr/>
          </p:nvSpPr>
          <p:spPr bwMode="auto">
            <a:xfrm rot="-9000000">
              <a:off x="763382" y="3707324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cxnSp>
        <p:nvCxnSpPr>
          <p:cNvPr id="20" name="Соединительная линия уступом 19"/>
          <p:cNvCxnSpPr>
            <a:endCxn id="38" idx="3"/>
          </p:cNvCxnSpPr>
          <p:nvPr/>
        </p:nvCxnSpPr>
        <p:spPr bwMode="auto">
          <a:xfrm rot="10800000" flipV="1">
            <a:off x="2558715" y="3655636"/>
            <a:ext cx="1130097" cy="465917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1" name="Соединительная линия уступом 20"/>
          <p:cNvCxnSpPr>
            <a:endCxn id="36" idx="3"/>
          </p:cNvCxnSpPr>
          <p:nvPr/>
        </p:nvCxnSpPr>
        <p:spPr bwMode="auto">
          <a:xfrm rot="10800000">
            <a:off x="2558714" y="1473326"/>
            <a:ext cx="1127608" cy="531002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6" name="Текст 35"/>
          <p:cNvSpPr>
            <a:spLocks noGrp="1"/>
          </p:cNvSpPr>
          <p:nvPr>
            <p:ph type="body" sz="quarter" idx="25"/>
          </p:nvPr>
        </p:nvSpPr>
        <p:spPr>
          <a:xfrm>
            <a:off x="255600" y="878807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Текст 35"/>
          <p:cNvSpPr>
            <a:spLocks noGrp="1"/>
          </p:cNvSpPr>
          <p:nvPr>
            <p:ph type="body" sz="quarter" idx="26"/>
          </p:nvPr>
        </p:nvSpPr>
        <p:spPr>
          <a:xfrm>
            <a:off x="255600" y="2202921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35"/>
          <p:cNvSpPr>
            <a:spLocks noGrp="1"/>
          </p:cNvSpPr>
          <p:nvPr>
            <p:ph type="body" sz="quarter" idx="27"/>
          </p:nvPr>
        </p:nvSpPr>
        <p:spPr>
          <a:xfrm>
            <a:off x="255600" y="3527035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9" name="Текст 35"/>
          <p:cNvSpPr>
            <a:spLocks noGrp="1"/>
          </p:cNvSpPr>
          <p:nvPr>
            <p:ph type="body" sz="quarter" idx="28"/>
          </p:nvPr>
        </p:nvSpPr>
        <p:spPr>
          <a:xfrm>
            <a:off x="6558240" y="878807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0" name="Текст 35"/>
          <p:cNvSpPr>
            <a:spLocks noGrp="1"/>
          </p:cNvSpPr>
          <p:nvPr>
            <p:ph type="body" sz="quarter" idx="29"/>
          </p:nvPr>
        </p:nvSpPr>
        <p:spPr>
          <a:xfrm>
            <a:off x="6558240" y="2202921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35"/>
          <p:cNvSpPr>
            <a:spLocks noGrp="1"/>
          </p:cNvSpPr>
          <p:nvPr>
            <p:ph type="body" sz="quarter" idx="30"/>
          </p:nvPr>
        </p:nvSpPr>
        <p:spPr>
          <a:xfrm>
            <a:off x="6558240" y="3527035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43" name="Соединительная линия уступом 42"/>
          <p:cNvCxnSpPr>
            <a:endCxn id="41" idx="1"/>
          </p:cNvCxnSpPr>
          <p:nvPr/>
        </p:nvCxnSpPr>
        <p:spPr bwMode="auto">
          <a:xfrm>
            <a:off x="5563760" y="3678753"/>
            <a:ext cx="994480" cy="442801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1" name="Соединительная линия уступом 50"/>
          <p:cNvCxnSpPr>
            <a:stCxn id="39" idx="1"/>
          </p:cNvCxnSpPr>
          <p:nvPr/>
        </p:nvCxnSpPr>
        <p:spPr bwMode="auto">
          <a:xfrm rot="10800000" flipV="1">
            <a:off x="5550968" y="1473326"/>
            <a:ext cx="1007272" cy="5402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>
            <a:cxnSpLocks/>
          </p:cNvCxnSpPr>
          <p:nvPr/>
        </p:nvCxnSpPr>
        <p:spPr bwMode="auto">
          <a:xfrm flipH="1">
            <a:off x="2587465" y="2797440"/>
            <a:ext cx="739105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2" name="Прямая соединительная линия 51"/>
          <p:cNvCxnSpPr>
            <a:cxnSpLocks/>
          </p:cNvCxnSpPr>
          <p:nvPr/>
        </p:nvCxnSpPr>
        <p:spPr bwMode="auto">
          <a:xfrm flipH="1">
            <a:off x="5911135" y="2797440"/>
            <a:ext cx="629001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374486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98465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2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89853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0946193"/>
              </p:ext>
            </p:ext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06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0" y="1477755"/>
            <a:ext cx="8606460" cy="634350"/>
          </a:xfrm>
          <a:prstGeom prst="rect">
            <a:avLst/>
          </a:prstGeom>
        </p:spPr>
        <p:txBody>
          <a:bodyPr anchor="t"/>
          <a:lstStyle>
            <a:lvl1pPr algn="l">
              <a:defRPr sz="2000" b="0" cap="all"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540514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3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1" y="1729716"/>
            <a:ext cx="8607046" cy="1021556"/>
          </a:xfrm>
          <a:prstGeom prst="rect">
            <a:avLst/>
          </a:prstGeo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483429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54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612282" y="1302635"/>
            <a:ext cx="2951754" cy="217646"/>
          </a:xfrm>
          <a:prstGeom prst="rect">
            <a:avLst/>
          </a:prstGeo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109400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255588" y="998538"/>
            <a:ext cx="8650287" cy="3595687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таблицы</a:t>
            </a:r>
          </a:p>
        </p:txBody>
      </p:sp>
    </p:spTree>
    <p:extLst>
      <p:ext uri="{BB962C8B-B14F-4D97-AF65-F5344CB8AC3E}">
        <p14:creationId xmlns:p14="http://schemas.microsoft.com/office/powerpoint/2010/main" val="377820136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405779737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8491686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лев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0"/>
            <a:ext cx="3566724" cy="51435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5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1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97140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168897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255600" y="230411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255600" y="291925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255600" y="353439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255600" y="414953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C26854C-9590-4F77-A1DA-AD30F168CD3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5648" y="100101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C1560EF-8C42-46D3-A113-AED54EB909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617681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7ABE165-F729-425A-9522-F3ACCC449C7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2234345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9A3E6EC-E939-43BF-BEAA-BE9928A833D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2851009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451A043-E6A6-452E-BB24-0D7E5BCFDF5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3467673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27E7D48-BBF6-4E78-B5EB-487E2B77411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408433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302099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566514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49963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9C594E9-F98C-4ECD-BBE5-1A777FD07C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BB7B1C5-0535-4FD0-9141-E4811B53E2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989DD66-5540-48DC-A10A-5DDAB08B011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92F8E39-E868-4536-A12D-FD1C3FBCA9C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BE6F9E0F-6B32-4528-B792-28DB2E17C00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1A60B29-3714-4301-95B5-4828A8E2C17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6565569-AD3D-4D67-9D0D-713544D2377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6206103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5227" y="1001016"/>
            <a:ext cx="2646774" cy="375228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599" y="4755454"/>
            <a:ext cx="5989628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CE97842-6475-454B-98E4-01D23229437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5B98125D-1849-4AF0-BE91-E7620FA2CD9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68FBEC0-B9BA-476B-ABDD-7E71B00EE8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29092CD-E822-4EDC-B8B6-0CD610BF5A3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7D889CD-8958-4384-9905-DA3BB80B463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9CFB8B23-03A2-49E8-B1D0-9DC2CBF3B7D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B760FD3-9F71-474E-8525-B92C26CC945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9146663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предпосыл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967120"/>
            <a:ext cx="2804795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980792E-90B1-44B5-8002-FDCADECFF35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185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5500CAD4-F3E7-4A42-9896-E4DE9E9D76B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85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C1581854-5F88-478E-B1DF-C7C6B47143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185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AD4FB18-41A7-45E9-8170-51281C4A35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185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728204F5-9978-458C-B886-0FE2D703C4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185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CD3562CE-A3F4-466B-A9D3-AC2175F868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7185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5CE170A8-BA82-4FE4-ADC7-72FC991D90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185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61474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64020" y="204540"/>
            <a:ext cx="552798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36402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D1C6CFE-3B42-4E68-8F90-D16CA3CB581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84406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36402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EC294AA-CA93-448B-8CDF-AABD8FA081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84406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36402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181702C2-B12F-4EAE-994D-1092DDAA840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84406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36402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09921A7-5A7D-429D-98F8-5C3D0D68DF4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84406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36402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CE4F2F3-D83C-44A2-ADA5-3A2B4310AC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4406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36402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755A123-151B-4050-A5F3-4A9019222E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84406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6402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D5355F9-7F30-4BD3-9D56-6F134F19492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4406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5242038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ле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85357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087271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пра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5601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600" y="4755454"/>
            <a:ext cx="4106641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47145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2460106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9050260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255588" y="842963"/>
            <a:ext cx="4210050" cy="38163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/>
          </p:nvPr>
        </p:nvSpPr>
        <p:spPr>
          <a:xfrm>
            <a:off x="4681950" y="842963"/>
            <a:ext cx="4210050" cy="38163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698797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5577276" y="0"/>
            <a:ext cx="3566724" cy="51435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4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5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4487" y="3895792"/>
            <a:ext cx="4960594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4485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51" y="35716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2395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8"/>
          <p:cNvSpPr>
            <a:spLocks noGrp="1"/>
          </p:cNvSpPr>
          <p:nvPr>
            <p:ph type="body" sz="quarter" idx="22"/>
          </p:nvPr>
        </p:nvSpPr>
        <p:spPr>
          <a:xfrm>
            <a:off x="4667663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/>
          </p:nvPr>
        </p:nvSpPr>
        <p:spPr>
          <a:xfrm>
            <a:off x="255588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DC95F010-2C41-49B4-994C-8AE1F73A8DE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776C387D-3753-4B75-92C6-5D3702D4152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6462204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диаграммы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8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4667663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81305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фото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7" hasCustomPrompt="1"/>
          </p:nvPr>
        </p:nvSpPr>
        <p:spPr>
          <a:xfrm>
            <a:off x="255588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4667663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7771718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0825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67663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3462626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46692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4377472-2581-4B39-80AE-581E00F855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5588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B92BB08-C89E-41B5-A110-42DDF113B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67663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D5CA91E-9AC8-4158-AA35-A1935E3551E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5588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B00560-4053-45AA-85D0-1C55BA3D54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67663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727200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139627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722427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1" hasCustomPrompt="1"/>
          </p:nvPr>
        </p:nvSpPr>
        <p:spPr>
          <a:xfrm>
            <a:off x="5134854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8705276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2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5ACD6DB4-4E35-4BB8-8994-407B920DEDB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1DB96461-00C9-4618-B085-BC875E29CDA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Рисунок 14">
            <a:extLst>
              <a:ext uri="{FF2B5EF4-FFF2-40B4-BE49-F238E27FC236}">
                <a16:creationId xmlns:a16="http://schemas.microsoft.com/office/drawing/2014/main" id="{4CE4A8B4-2328-4C2C-A1F8-423D7177476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B1AEF316-0FE1-4213-A402-302C31640C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Рисунок 14">
            <a:extLst>
              <a:ext uri="{FF2B5EF4-FFF2-40B4-BE49-F238E27FC236}">
                <a16:creationId xmlns:a16="http://schemas.microsoft.com/office/drawing/2014/main" id="{64CD6F6C-3BD6-4982-9A80-480DEEF6FE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E2D9583-6670-486A-A170-4B7E3AAD45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35648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Рисунок 14">
            <a:extLst>
              <a:ext uri="{FF2B5EF4-FFF2-40B4-BE49-F238E27FC236}">
                <a16:creationId xmlns:a16="http://schemas.microsoft.com/office/drawing/2014/main" id="{B2679DE3-113C-45B0-9FBB-84C80D90A2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DC34E2AE-DCD6-46D1-A1D1-59D43290768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5648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Рисунок 14">
            <a:extLst>
              <a:ext uri="{FF2B5EF4-FFF2-40B4-BE49-F238E27FC236}">
                <a16:creationId xmlns:a16="http://schemas.microsoft.com/office/drawing/2014/main" id="{95B65BCB-FAFB-4949-9DA5-6DD965EF5DD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DF6D2344-1F01-4E57-B29B-777B243901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35648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5" name="Рисунок 14">
            <a:extLst>
              <a:ext uri="{FF2B5EF4-FFF2-40B4-BE49-F238E27FC236}">
                <a16:creationId xmlns:a16="http://schemas.microsoft.com/office/drawing/2014/main" id="{B338637A-8816-44B7-BB19-C9702D023F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970B49F-E8D0-42E9-906A-E1BE3761811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5648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7" name="Рисунок 14">
            <a:extLst>
              <a:ext uri="{FF2B5EF4-FFF2-40B4-BE49-F238E27FC236}">
                <a16:creationId xmlns:a16="http://schemas.microsoft.com/office/drawing/2014/main" id="{DEB00967-6AE4-4995-9A85-2356A9A4899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A098F644-4A32-41C9-AB95-DC7B1A2CBBA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35648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9" name="Рисунок 14">
            <a:extLst>
              <a:ext uri="{FF2B5EF4-FFF2-40B4-BE49-F238E27FC236}">
                <a16:creationId xmlns:a16="http://schemas.microsoft.com/office/drawing/2014/main" id="{52790202-17E3-482C-BBC7-0FDC08AA8D9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821878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0596A83C-CB24-431E-B6CA-8EAEEF87F2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01926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1" name="Рисунок 14">
            <a:extLst>
              <a:ext uri="{FF2B5EF4-FFF2-40B4-BE49-F238E27FC236}">
                <a16:creationId xmlns:a16="http://schemas.microsoft.com/office/drawing/2014/main" id="{98CCCF76-0F0D-4468-B476-98F7E5F193DB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821878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A14B70F-4E5F-4E68-A232-DB29D948250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01926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3" name="Рисунок 14">
            <a:extLst>
              <a:ext uri="{FF2B5EF4-FFF2-40B4-BE49-F238E27FC236}">
                <a16:creationId xmlns:a16="http://schemas.microsoft.com/office/drawing/2014/main" id="{B12EAE96-E1E7-4AEA-BE1F-929DC6D7DACD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821878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9563D9A-CED2-4ECA-8A37-BF67DAC51F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301926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5" name="Рисунок 14">
            <a:extLst>
              <a:ext uri="{FF2B5EF4-FFF2-40B4-BE49-F238E27FC236}">
                <a16:creationId xmlns:a16="http://schemas.microsoft.com/office/drawing/2014/main" id="{F9F1D5B1-7350-461F-BEC4-A02D9209AA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821878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FB3655B-D02C-4974-B8BB-52053EF46F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301926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7" name="Рисунок 14">
            <a:extLst>
              <a:ext uri="{FF2B5EF4-FFF2-40B4-BE49-F238E27FC236}">
                <a16:creationId xmlns:a16="http://schemas.microsoft.com/office/drawing/2014/main" id="{DE3ECA66-605C-4EA2-80FD-5D3DD5A9751C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821878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EDA554DC-64B4-4829-893F-1BE738AADB2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301926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9" name="Рисунок 14">
            <a:extLst>
              <a:ext uri="{FF2B5EF4-FFF2-40B4-BE49-F238E27FC236}">
                <a16:creationId xmlns:a16="http://schemas.microsoft.com/office/drawing/2014/main" id="{FC35F83D-02DD-4749-A458-B5EBA5DEC17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821878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B76B11AD-817F-47DD-B055-F17D2333517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301926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1" name="Рисунок 14">
            <a:extLst>
              <a:ext uri="{FF2B5EF4-FFF2-40B4-BE49-F238E27FC236}">
                <a16:creationId xmlns:a16="http://schemas.microsoft.com/office/drawing/2014/main" id="{D6937FE5-2DC9-467B-B2CB-1E208EC0346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821878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30E2FE77-DADE-42E6-BD8F-386BE6C5C2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301926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346617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5601" y="1324799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58377" y="1324800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46422523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2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8987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5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36739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394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7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384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 (рамк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393540" y="3094276"/>
            <a:ext cx="8414796" cy="1732369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217" y="898072"/>
            <a:ext cx="8506117" cy="1298132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spcBef>
                <a:spcPts val="0"/>
              </a:spcBef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>
            <a:off x="393539" y="2278556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5203902" y="2278556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76184" y="2225922"/>
            <a:ext cx="4644059" cy="774322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287562" y="2225922"/>
            <a:ext cx="3520772" cy="774322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98" y="366765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0042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99758025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92875350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058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560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3472388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205799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9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6156000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1218109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167943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185333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14705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3185333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6114705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185121251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9" hasCustomPrompt="1"/>
          </p:nvPr>
        </p:nvSpPr>
        <p:spPr>
          <a:xfrm>
            <a:off x="25558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Рисунок 12"/>
          <p:cNvSpPr>
            <a:spLocks noGrp="1"/>
          </p:cNvSpPr>
          <p:nvPr>
            <p:ph type="pic" sz="quarter" idx="20" hasCustomPrompt="1"/>
          </p:nvPr>
        </p:nvSpPr>
        <p:spPr>
          <a:xfrm>
            <a:off x="32065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61567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84080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72731440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30333718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2058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2058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5" hasCustomPrompt="1"/>
          </p:nvPr>
        </p:nvSpPr>
        <p:spPr>
          <a:xfrm>
            <a:off x="61560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6" hasCustomPrompt="1"/>
          </p:nvPr>
        </p:nvSpPr>
        <p:spPr>
          <a:xfrm>
            <a:off x="61560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652199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02400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703761" y="2802874"/>
            <a:ext cx="2298639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7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3652199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8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6602400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9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703761" y="828198"/>
            <a:ext cx="2298639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96144433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4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38"/>
          </p:nvPr>
        </p:nvSpPr>
        <p:spPr>
          <a:xfrm>
            <a:off x="6156000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Content Placeholder 6"/>
          <p:cNvSpPr>
            <a:spLocks noGrp="1"/>
          </p:cNvSpPr>
          <p:nvPr>
            <p:ph sz="quarter" idx="39"/>
          </p:nvPr>
        </p:nvSpPr>
        <p:spPr>
          <a:xfrm>
            <a:off x="6156000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00749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7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086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oleObject" Target="../embeddings/oleObject42.bin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tags" Target="../tags/tag74.xml"/><Relationship Id="rId2" Type="http://schemas.openxmlformats.org/officeDocument/2006/relationships/slideLayout" Target="../slideLayouts/slideLayout80.xml"/><Relationship Id="rId16" Type="http://schemas.openxmlformats.org/officeDocument/2006/relationships/tags" Target="../tags/tag7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vmlDrawing" Target="../drawings/vmlDrawing42.vml"/><Relationship Id="rId10" Type="http://schemas.openxmlformats.org/officeDocument/2006/relationships/slideLayout" Target="../slideLayouts/slideLayout88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vmlDrawing" Target="../drawings/vmlDrawing46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1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93.xml"/><Relationship Id="rId16" Type="http://schemas.openxmlformats.org/officeDocument/2006/relationships/oleObject" Target="../embeddings/oleObject46.bin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tags" Target="../tags/tag82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tags" Target="../tags/tag8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tags" Target="../tags/tag91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ags" Target="../tags/tag90.xml"/><Relationship Id="rId2" Type="http://schemas.openxmlformats.org/officeDocument/2006/relationships/slideLayout" Target="../slideLayouts/slideLayout10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vmlDrawing" Target="../drawings/vmlDrawing51.vml"/><Relationship Id="rId5" Type="http://schemas.openxmlformats.org/officeDocument/2006/relationships/slideLayout" Target="../slideLayouts/slideLayout107.xml"/><Relationship Id="rId15" Type="http://schemas.openxmlformats.org/officeDocument/2006/relationships/image" Target="../media/image1.emf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oleObject" Target="../embeddings/oleObject51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slideLayout" Target="../slideLayouts/slideLayout114.xml"/><Relationship Id="rId7" Type="http://schemas.openxmlformats.org/officeDocument/2006/relationships/tags" Target="../tags/tag102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vmlDrawing" Target="../drawings/vmlDrawing57.vml"/><Relationship Id="rId11" Type="http://schemas.openxmlformats.org/officeDocument/2006/relationships/image" Target="../media/image2.png"/><Relationship Id="rId5" Type="http://schemas.openxmlformats.org/officeDocument/2006/relationships/theme" Target="../theme/theme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5.xml"/><Relationship Id="rId9" Type="http://schemas.openxmlformats.org/officeDocument/2006/relationships/oleObject" Target="../embeddings/oleObject57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8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18.xml"/><Relationship Id="rId7" Type="http://schemas.openxmlformats.org/officeDocument/2006/relationships/theme" Target="../theme/theme1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oleObject" Target="../embeddings/oleObject58.bin"/><Relationship Id="rId5" Type="http://schemas.openxmlformats.org/officeDocument/2006/relationships/slideLayout" Target="../slideLayouts/slideLayout120.xml"/><Relationship Id="rId10" Type="http://schemas.openxmlformats.org/officeDocument/2006/relationships/tags" Target="../tags/tag105.xml"/><Relationship Id="rId4" Type="http://schemas.openxmlformats.org/officeDocument/2006/relationships/slideLayout" Target="../slideLayouts/slideLayout119.xml"/><Relationship Id="rId9" Type="http://schemas.openxmlformats.org/officeDocument/2006/relationships/tags" Target="../tags/tag10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vmlDrawing" Target="../drawings/vmlDrawing64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3.xml"/><Relationship Id="rId16" Type="http://schemas.openxmlformats.org/officeDocument/2006/relationships/oleObject" Target="../embeddings/oleObject64.bin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tags" Target="../tags/tag114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tags" Target="../tags/tag11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tags" Target="../tags/tag122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ags" Target="../tags/tag121.xml"/><Relationship Id="rId2" Type="http://schemas.openxmlformats.org/officeDocument/2006/relationships/slideLayout" Target="../slideLayouts/slideLayout13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vmlDrawing" Target="../drawings/vmlDrawing68.vml"/><Relationship Id="rId5" Type="http://schemas.openxmlformats.org/officeDocument/2006/relationships/slideLayout" Target="../slideLayouts/slideLayout137.xml"/><Relationship Id="rId15" Type="http://schemas.openxmlformats.org/officeDocument/2006/relationships/image" Target="../media/image1.emf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oleObject" Target="../embeddings/oleObject68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oleObject" Target="../embeddings/oleObject74.bin"/><Relationship Id="rId3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8.xml"/><Relationship Id="rId12" Type="http://schemas.openxmlformats.org/officeDocument/2006/relationships/tags" Target="../tags/tag134.xml"/><Relationship Id="rId2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tags" Target="../tags/tag133.xml"/><Relationship Id="rId5" Type="http://schemas.openxmlformats.org/officeDocument/2006/relationships/slideLayout" Target="../slideLayouts/slideLayout146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74.vml"/><Relationship Id="rId4" Type="http://schemas.openxmlformats.org/officeDocument/2006/relationships/slideLayout" Target="../slideLayouts/slideLayout145.xml"/><Relationship Id="rId9" Type="http://schemas.openxmlformats.org/officeDocument/2006/relationships/theme" Target="../theme/theme17.xml"/><Relationship Id="rId14" Type="http://schemas.openxmlformats.org/officeDocument/2006/relationships/image" Target="../media/image1.e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slideLayout" Target="../slideLayouts/slideLayout162.xml"/><Relationship Id="rId18" Type="http://schemas.openxmlformats.org/officeDocument/2006/relationships/oleObject" Target="../embeddings/oleObject80.bin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tags" Target="../tags/tag143.xml"/><Relationship Id="rId2" Type="http://schemas.openxmlformats.org/officeDocument/2006/relationships/slideLayout" Target="../slideLayouts/slideLayout151.xml"/><Relationship Id="rId16" Type="http://schemas.openxmlformats.org/officeDocument/2006/relationships/tags" Target="../tags/tag14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vmlDrawing" Target="../drawings/vmlDrawing80.vml"/><Relationship Id="rId10" Type="http://schemas.openxmlformats.org/officeDocument/2006/relationships/slideLayout" Target="../slideLayouts/slideLayout15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vmlDrawing" Target="../drawings/vmlDrawing84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64.xml"/><Relationship Id="rId16" Type="http://schemas.openxmlformats.org/officeDocument/2006/relationships/oleObject" Target="../embeddings/oleObject84.bin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5" Type="http://schemas.openxmlformats.org/officeDocument/2006/relationships/tags" Target="../tags/tag151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tags" Target="../tags/tag15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oleObject" Target="../embeddings/oleObject12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21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20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2.vml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0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76.xml"/><Relationship Id="rId7" Type="http://schemas.openxmlformats.org/officeDocument/2006/relationships/theme" Target="../theme/theme2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oleObject" Target="../embeddings/oleObject90.bin"/><Relationship Id="rId5" Type="http://schemas.openxmlformats.org/officeDocument/2006/relationships/slideLayout" Target="../slideLayouts/slideLayout178.xml"/><Relationship Id="rId10" Type="http://schemas.openxmlformats.org/officeDocument/2006/relationships/tags" Target="../tags/tag163.xml"/><Relationship Id="rId4" Type="http://schemas.openxmlformats.org/officeDocument/2006/relationships/slideLayout" Target="../slideLayouts/slideLayout177.xml"/><Relationship Id="rId9" Type="http://schemas.openxmlformats.org/officeDocument/2006/relationships/tags" Target="../tags/tag162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0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theme" Target="../theme/theme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26.xml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25.xml"/><Relationship Id="rId9" Type="http://schemas.openxmlformats.org/officeDocument/2006/relationships/vmlDrawing" Target="../drawings/vmlDrawing18.v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vmlDrawing" Target="../drawings/vmlDrawing19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0.xml"/><Relationship Id="rId16" Type="http://schemas.openxmlformats.org/officeDocument/2006/relationships/oleObject" Target="../embeddings/oleObject19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32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ags" Target="../tags/tag40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ags" Target="../tags/tag39.xml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vmlDrawing" Target="../drawings/vmlDrawing23.vml"/><Relationship Id="rId5" Type="http://schemas.openxmlformats.org/officeDocument/2006/relationships/slideLayout" Target="../slideLayouts/slideLayout44.xml"/><Relationship Id="rId15" Type="http://schemas.openxmlformats.org/officeDocument/2006/relationships/image" Target="../media/image1.emf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oleObject" Target="../embeddings/oleObject2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ags" Target="../tags/tag49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ags" Target="../tags/tag48.xml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vmlDrawing" Target="../drawings/vmlDrawing28.v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1.emf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oleObject" Target="../embeddings/oleObject28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slideLayout" Target="../slideLayouts/slideLayout60.xml"/><Relationship Id="rId7" Type="http://schemas.openxmlformats.org/officeDocument/2006/relationships/tags" Target="../tags/tag60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vmlDrawing" Target="../drawings/vmlDrawing34.vml"/><Relationship Id="rId11" Type="http://schemas.openxmlformats.org/officeDocument/2006/relationships/image" Target="../media/image2.png"/><Relationship Id="rId5" Type="http://schemas.openxmlformats.org/officeDocument/2006/relationships/theme" Target="../theme/theme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1.xml"/><Relationship Id="rId9" Type="http://schemas.openxmlformats.org/officeDocument/2006/relationships/oleObject" Target="../embeddings/oleObject34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oleObject" Target="../embeddings/oleObject35.bin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ags" Target="../tags/tag6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35.vml"/><Relationship Id="rId4" Type="http://schemas.openxmlformats.org/officeDocument/2006/relationships/slideLayout" Target="../slideLayouts/slideLayout65.xml"/><Relationship Id="rId9" Type="http://schemas.openxmlformats.org/officeDocument/2006/relationships/theme" Target="../theme/theme8.xml"/><Relationship Id="rId1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ags" Target="../tags/tag72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ags" Target="../tags/tag71.xml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vmlDrawing" Target="../drawings/vmlDrawing41.vml"/><Relationship Id="rId5" Type="http://schemas.openxmlformats.org/officeDocument/2006/relationships/slideLayout" Target="../slideLayouts/slideLayout74.xml"/><Relationship Id="rId15" Type="http://schemas.openxmlformats.org/officeDocument/2006/relationships/image" Target="../media/image1.emf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oleObject" Target="../embeddings/oleObject4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02433045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5" name="Слайд think-cell" r:id="rId18" imgW="270" imgH="270" progId="TCLayout.ActiveDocument.1">
                  <p:embed/>
                </p:oleObj>
              </mc:Choice>
              <mc:Fallback>
                <p:oleObj name="Слайд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52" r:id="rId2"/>
    <p:sldLayoutId id="2147484225" r:id="rId3"/>
    <p:sldLayoutId id="2147484207" r:id="rId4"/>
    <p:sldLayoutId id="2147484290" r:id="rId5"/>
    <p:sldLayoutId id="2147484291" r:id="rId6"/>
    <p:sldLayoutId id="2147484205" r:id="rId7"/>
    <p:sldLayoutId id="2147484251" r:id="rId8"/>
    <p:sldLayoutId id="2147484206" r:id="rId9"/>
    <p:sldLayoutId id="2147484250" r:id="rId10"/>
    <p:sldLayoutId id="2147484228" r:id="rId11"/>
    <p:sldLayoutId id="2147484247" r:id="rId12"/>
    <p:sldLayoutId id="2147484245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02" name="Слайд think-cell" r:id="rId18" imgW="270" imgH="270" progId="TCLayout.ActiveDocument.1">
                  <p:embed/>
                </p:oleObj>
              </mc:Choice>
              <mc:Fallback>
                <p:oleObj name="Слайд think-cell" r:id="rId1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907941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7" r:id="rId1"/>
    <p:sldLayoutId id="2147484578" r:id="rId2"/>
    <p:sldLayoutId id="2147484579" r:id="rId3"/>
    <p:sldLayoutId id="2147484580" r:id="rId4"/>
    <p:sldLayoutId id="2147484581" r:id="rId5"/>
    <p:sldLayoutId id="2147484582" r:id="rId6"/>
    <p:sldLayoutId id="2147484583" r:id="rId7"/>
    <p:sldLayoutId id="2147484584" r:id="rId8"/>
    <p:sldLayoutId id="2147484585" r:id="rId9"/>
    <p:sldLayoutId id="2147484586" r:id="rId10"/>
    <p:sldLayoutId id="2147484587" r:id="rId11"/>
    <p:sldLayoutId id="2147484613" r:id="rId12"/>
    <p:sldLayoutId id="2147484614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498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321278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9" r:id="rId1"/>
    <p:sldLayoutId id="2147484590" r:id="rId2"/>
    <p:sldLayoutId id="2147484591" r:id="rId3"/>
    <p:sldLayoutId id="2147484592" r:id="rId4"/>
    <p:sldLayoutId id="2147484593" r:id="rId5"/>
    <p:sldLayoutId id="2147484594" r:id="rId6"/>
    <p:sldLayoutId id="2147484595" r:id="rId7"/>
    <p:sldLayoutId id="2147484596" r:id="rId8"/>
    <p:sldLayoutId id="2147484597" r:id="rId9"/>
    <p:sldLayoutId id="2147484615" r:id="rId10"/>
    <p:sldLayoutId id="2147484616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18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295872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9" r:id="rId1"/>
    <p:sldLayoutId id="2147484600" r:id="rId2"/>
    <p:sldLayoutId id="2147484601" r:id="rId3"/>
    <p:sldLayoutId id="2147484602" r:id="rId4"/>
    <p:sldLayoutId id="2147484603" r:id="rId5"/>
    <p:sldLayoutId id="2147484604" r:id="rId6"/>
    <p:sldLayoutId id="2147484605" r:id="rId7"/>
    <p:sldLayoutId id="2147484606" r:id="rId8"/>
    <p:sldLayoutId id="2147484607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62" name="Слайд think-cell" r:id="rId9" imgW="270" imgH="270" progId="TCLayout.ActiveDocument.1">
                  <p:embed/>
                </p:oleObj>
              </mc:Choice>
              <mc:Fallback>
                <p:oleObj name="Слайд think-cell" r:id="rId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642578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9" r:id="rId1"/>
    <p:sldLayoutId id="2147484610" r:id="rId2"/>
    <p:sldLayoutId id="2147484611" r:id="rId3"/>
    <p:sldLayoutId id="2147484612" r:id="rId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86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1019931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2" r:id="rId1"/>
    <p:sldLayoutId id="2147484623" r:id="rId2"/>
    <p:sldLayoutId id="2147484624" r:id="rId3"/>
    <p:sldLayoutId id="2147484625" r:id="rId4"/>
    <p:sldLayoutId id="2147484626" r:id="rId5"/>
    <p:sldLayoutId id="2147484627" r:id="rId6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54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1697976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7" r:id="rId1"/>
    <p:sldLayoutId id="2147484638" r:id="rId2"/>
    <p:sldLayoutId id="2147484639" r:id="rId3"/>
    <p:sldLayoutId id="2147484640" r:id="rId4"/>
    <p:sldLayoutId id="2147484641" r:id="rId5"/>
    <p:sldLayoutId id="2147484642" r:id="rId6"/>
    <p:sldLayoutId id="2147484643" r:id="rId7"/>
    <p:sldLayoutId id="2147484644" r:id="rId8"/>
    <p:sldLayoutId id="2147484645" r:id="rId9"/>
    <p:sldLayoutId id="2147484646" r:id="rId10"/>
    <p:sldLayoutId id="2147484647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70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1462003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9" r:id="rId1"/>
    <p:sldLayoutId id="2147484660" r:id="rId2"/>
    <p:sldLayoutId id="2147484661" r:id="rId3"/>
    <p:sldLayoutId id="2147484662" r:id="rId4"/>
    <p:sldLayoutId id="2147484663" r:id="rId5"/>
    <p:sldLayoutId id="2147484664" r:id="rId6"/>
    <p:sldLayoutId id="2147484665" r:id="rId7"/>
    <p:sldLayoutId id="2147484666" r:id="rId8"/>
    <p:sldLayoutId id="2147484667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8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854544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4" r:id="rId1"/>
    <p:sldLayoutId id="2147484675" r:id="rId2"/>
    <p:sldLayoutId id="2147484676" r:id="rId3"/>
    <p:sldLayoutId id="2147484677" r:id="rId4"/>
    <p:sldLayoutId id="2147484678" r:id="rId5"/>
    <p:sldLayoutId id="2147484679" r:id="rId6"/>
    <p:sldLayoutId id="2147484727" r:id="rId7"/>
    <p:sldLayoutId id="2147484728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06" name="Слайд think-cell" r:id="rId18" imgW="270" imgH="270" progId="TCLayout.ActiveDocument.1">
                  <p:embed/>
                </p:oleObj>
              </mc:Choice>
              <mc:Fallback>
                <p:oleObj name="Слайд think-cell" r:id="rId1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484823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9" r:id="rId1"/>
    <p:sldLayoutId id="2147484690" r:id="rId2"/>
    <p:sldLayoutId id="2147484691" r:id="rId3"/>
    <p:sldLayoutId id="2147484692" r:id="rId4"/>
    <p:sldLayoutId id="2147484693" r:id="rId5"/>
    <p:sldLayoutId id="2147484694" r:id="rId6"/>
    <p:sldLayoutId id="2147484695" r:id="rId7"/>
    <p:sldLayoutId id="2147484696" r:id="rId8"/>
    <p:sldLayoutId id="2147484697" r:id="rId9"/>
    <p:sldLayoutId id="2147484698" r:id="rId10"/>
    <p:sldLayoutId id="2147484699" r:id="rId11"/>
    <p:sldLayoutId id="2147484729" r:id="rId12"/>
    <p:sldLayoutId id="2147484730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22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1808882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1" r:id="rId1"/>
    <p:sldLayoutId id="2147484712" r:id="rId2"/>
    <p:sldLayoutId id="2147484713" r:id="rId3"/>
    <p:sldLayoutId id="2147484714" r:id="rId4"/>
    <p:sldLayoutId id="2147484715" r:id="rId5"/>
    <p:sldLayoutId id="2147484716" r:id="rId6"/>
    <p:sldLayoutId id="2147484717" r:id="rId7"/>
    <p:sldLayoutId id="2147484718" r:id="rId8"/>
    <p:sldLayoutId id="2147484719" r:id="rId9"/>
    <p:sldLayoutId id="2147484731" r:id="rId10"/>
    <p:sldLayoutId id="2147484732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81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  <p:sldLayoutId id="2147484307" r:id="rId2"/>
    <p:sldLayoutId id="2147484534" r:id="rId3"/>
    <p:sldLayoutId id="2147484535" r:id="rId4"/>
    <p:sldLayoutId id="2147484536" r:id="rId5"/>
    <p:sldLayoutId id="2147484545" r:id="rId6"/>
    <p:sldLayoutId id="2147484559" r:id="rId7"/>
    <p:sldLayoutId id="214748456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67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423765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1" r:id="rId1"/>
    <p:sldLayoutId id="2147484722" r:id="rId2"/>
    <p:sldLayoutId id="2147484723" r:id="rId3"/>
    <p:sldLayoutId id="2147484724" r:id="rId4"/>
    <p:sldLayoutId id="2147484725" r:id="rId5"/>
    <p:sldLayoutId id="2147484726" r:id="rId6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8096" y="438912"/>
            <a:ext cx="7290054" cy="11247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7" y="1714500"/>
            <a:ext cx="7290053" cy="301752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8096" y="4853028"/>
            <a:ext cx="1615607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2199" y="4853028"/>
            <a:ext cx="4426094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28000" y="4853028"/>
            <a:ext cx="73025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571500" y="619743"/>
            <a:ext cx="0" cy="6858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6969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9" r:id="rId1"/>
    <p:sldLayoutId id="2147484810" r:id="rId2"/>
    <p:sldLayoutId id="2147484811" r:id="rId3"/>
    <p:sldLayoutId id="2147484812" r:id="rId4"/>
    <p:sldLayoutId id="2147484813" r:id="rId5"/>
    <p:sldLayoutId id="2147484814" r:id="rId6"/>
    <p:sldLayoutId id="2147484815" r:id="rId7"/>
    <p:sldLayoutId id="2147484816" r:id="rId8"/>
    <p:sldLayoutId id="2147484817" r:id="rId9"/>
    <p:sldLayoutId id="2147484818" r:id="rId10"/>
    <p:sldLayoutId id="2147484819" r:id="rId11"/>
    <p:sldLayoutId id="2147484820" r:id="rId12"/>
    <p:sldLayoutId id="2147484821" r:id="rId13"/>
  </p:sldLayoutIdLst>
  <p:hf hdr="0" ftr="0" dt="0"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sz="3750" kern="1200" cap="all" spc="75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68580" indent="-68580" algn="l" defTabSz="685800" rtl="0" eaLnBrk="1" latinLnBrk="0" hangingPunct="1">
        <a:lnSpc>
          <a:spcPct val="90000"/>
        </a:lnSpc>
        <a:spcBef>
          <a:spcPts val="900"/>
        </a:spcBef>
        <a:spcAft>
          <a:spcPts val="150"/>
        </a:spcAft>
        <a:buClr>
          <a:schemeClr val="accent3"/>
        </a:buClr>
        <a:buSzPct val="100000"/>
        <a:buFont typeface="Tw Cen MT" panose="020B0602020104020603" pitchFamily="34" charset="0"/>
        <a:buChar char=" "/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198882" indent="-10287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3"/>
        </a:buClr>
        <a:buFont typeface="Wingdings 3" pitchFamily="18" charset="2"/>
        <a:buChar char="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336042" indent="-10287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3"/>
        </a:buClr>
        <a:buFont typeface="Wingdings 3" pitchFamily="18" charset="2"/>
        <a:buChar char="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0287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3"/>
        </a:buClr>
        <a:buFont typeface="Wingdings 3" pitchFamily="18" charset="2"/>
        <a:buChar char="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582930" indent="-10287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3"/>
        </a:buClr>
        <a:buFont typeface="Wingdings 3" pitchFamily="18" charset="2"/>
        <a:buChar char="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685800" indent="-10287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3"/>
        </a:buClr>
        <a:buFont typeface="Wingdings 3" pitchFamily="18" charset="2"/>
        <a:buChar char="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795528" indent="-10287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3"/>
        </a:buClr>
        <a:buFont typeface="Wingdings 3" pitchFamily="18" charset="2"/>
        <a:buChar char="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912114" indent="-10287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3"/>
        </a:buClr>
        <a:buFont typeface="Wingdings 3" pitchFamily="18" charset="2"/>
        <a:buChar char="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021842" indent="-10287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3"/>
        </a:buClr>
        <a:buFont typeface="Wingdings 3" pitchFamily="18" charset="2"/>
        <a:buChar char="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68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  <p:sldLayoutId id="2147484542" r:id="rId3"/>
    <p:sldLayoutId id="2147484543" r:id="rId4"/>
    <p:sldLayoutId id="2147484544" r:id="rId5"/>
    <p:sldLayoutId id="2147484546" r:id="rId6"/>
    <p:sldLayoutId id="2147484547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25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587872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5" r:id="rId1"/>
    <p:sldLayoutId id="2147484336" r:id="rId2"/>
    <p:sldLayoutId id="2147484337" r:id="rId3"/>
    <p:sldLayoutId id="2147484338" r:id="rId4"/>
    <p:sldLayoutId id="2147484339" r:id="rId5"/>
    <p:sldLayoutId id="2147484340" r:id="rId6"/>
    <p:sldLayoutId id="2147484346" r:id="rId7"/>
    <p:sldLayoutId id="2147484352" r:id="rId8"/>
    <p:sldLayoutId id="2147484549" r:id="rId9"/>
    <p:sldLayoutId id="2147484550" r:id="rId10"/>
    <p:sldLayoutId id="2147484548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0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007367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7" r:id="rId1"/>
    <p:sldLayoutId id="2147484388" r:id="rId2"/>
    <p:sldLayoutId id="2147484389" r:id="rId3"/>
    <p:sldLayoutId id="2147484390" r:id="rId4"/>
    <p:sldLayoutId id="2147484391" r:id="rId5"/>
    <p:sldLayoutId id="2147484392" r:id="rId6"/>
    <p:sldLayoutId id="2147484551" r:id="rId7"/>
    <p:sldLayoutId id="2147484552" r:id="rId8"/>
    <p:sldLayoutId id="2147484553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98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306680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556" r:id="rId5"/>
    <p:sldLayoutId id="2147484555" r:id="rId6"/>
    <p:sldLayoutId id="2147484554" r:id="rId7"/>
    <p:sldLayoutId id="2147484557" r:id="rId8"/>
    <p:sldLayoutId id="2147484558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20" name="Слайд think-cell" r:id="rId9" imgW="270" imgH="270" progId="TCLayout.ActiveDocument.1">
                  <p:embed/>
                </p:oleObj>
              </mc:Choice>
              <mc:Fallback>
                <p:oleObj name="Слайд think-cell" r:id="rId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193761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1" r:id="rId1"/>
    <p:sldLayoutId id="2147484482" r:id="rId2"/>
    <p:sldLayoutId id="2147484483" r:id="rId3"/>
    <p:sldLayoutId id="2147484484" r:id="rId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34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341147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2" r:id="rId1"/>
    <p:sldLayoutId id="2147484563" r:id="rId2"/>
    <p:sldLayoutId id="2147484564" r:id="rId3"/>
    <p:sldLayoutId id="2147484565" r:id="rId4"/>
    <p:sldLayoutId id="2147484566" r:id="rId5"/>
    <p:sldLayoutId id="2147484567" r:id="rId6"/>
    <p:sldLayoutId id="2147484619" r:id="rId7"/>
    <p:sldLayoutId id="214748462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78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796461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9" r:id="rId1"/>
    <p:sldLayoutId id="2147484570" r:id="rId2"/>
    <p:sldLayoutId id="2147484571" r:id="rId3"/>
    <p:sldLayoutId id="2147484572" r:id="rId4"/>
    <p:sldLayoutId id="2147484573" r:id="rId5"/>
    <p:sldLayoutId id="2147484574" r:id="rId6"/>
    <p:sldLayoutId id="2147484575" r:id="rId7"/>
    <p:sldLayoutId id="2147484617" r:id="rId8"/>
    <p:sldLayoutId id="2147484618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9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9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9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9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151304" y="715561"/>
            <a:ext cx="7088128" cy="1470948"/>
          </a:xfrm>
        </p:spPr>
        <p:txBody>
          <a:bodyPr/>
          <a:lstStyle/>
          <a:p>
            <a:pPr algn="ctr"/>
            <a:r>
              <a:rPr lang="ru-RU" dirty="0" smtClean="0"/>
              <a:t>Понятие потока создания ценности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26851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68834" y="20231"/>
            <a:ext cx="8352544" cy="655419"/>
          </a:xfrm>
        </p:spPr>
        <p:txBody>
          <a:bodyPr/>
          <a:lstStyle/>
          <a:p>
            <a:pPr algn="ctr"/>
            <a:r>
              <a:rPr lang="ru-RU" dirty="0"/>
              <a:t>Блок-схема добавленной ценности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7638" y="774457"/>
            <a:ext cx="4948638" cy="4305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122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68834" y="20231"/>
            <a:ext cx="8352544" cy="655419"/>
          </a:xfrm>
        </p:spPr>
        <p:txBody>
          <a:bodyPr/>
          <a:lstStyle/>
          <a:p>
            <a:pPr algn="ctr"/>
            <a:r>
              <a:rPr lang="ru-RU" dirty="0"/>
              <a:t>Диаграмма спагетти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6928" y="675650"/>
            <a:ext cx="6208578" cy="4206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8644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68834" y="106878"/>
            <a:ext cx="8352544" cy="403761"/>
          </a:xfrm>
        </p:spPr>
        <p:txBody>
          <a:bodyPr>
            <a:normAutofit/>
          </a:bodyPr>
          <a:lstStyle/>
          <a:p>
            <a:pPr algn="ctr"/>
            <a:r>
              <a:rPr lang="en-US" sz="2000" dirty="0"/>
              <a:t>SIPOC </a:t>
            </a:r>
            <a:r>
              <a:rPr lang="ru-RU" sz="2000" dirty="0"/>
              <a:t>диаграмма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68834" y="510639"/>
            <a:ext cx="85495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Поставщик – Вход – Обработка в процессе – Выход – Потребитель </a:t>
            </a:r>
            <a:endParaRPr lang="ru-RU" sz="1400" dirty="0" smtClean="0"/>
          </a:p>
          <a:p>
            <a:r>
              <a:rPr lang="ru-RU" sz="1400" dirty="0" smtClean="0"/>
              <a:t>(SIPOC </a:t>
            </a:r>
            <a:r>
              <a:rPr lang="ru-RU" sz="1400" dirty="0"/>
              <a:t>–цепочка от заглавных первых букв элементов на английском языке</a:t>
            </a:r>
            <a:r>
              <a:rPr lang="ru-RU" sz="1400" dirty="0" smtClean="0"/>
              <a:t>:</a:t>
            </a:r>
          </a:p>
          <a:p>
            <a:r>
              <a:rPr lang="ru-RU" sz="1400" dirty="0" smtClean="0"/>
              <a:t> </a:t>
            </a:r>
            <a:r>
              <a:rPr lang="ru-RU" sz="1400" dirty="0" err="1"/>
              <a:t>Supplier</a:t>
            </a:r>
            <a:r>
              <a:rPr lang="ru-RU" sz="1400" dirty="0"/>
              <a:t> – </a:t>
            </a:r>
            <a:r>
              <a:rPr lang="ru-RU" sz="1400" dirty="0" err="1"/>
              <a:t>Input</a:t>
            </a:r>
            <a:r>
              <a:rPr lang="ru-RU" sz="1400" dirty="0"/>
              <a:t> – </a:t>
            </a:r>
            <a:r>
              <a:rPr lang="ru-RU" sz="1400" dirty="0" err="1"/>
              <a:t>Processing</a:t>
            </a:r>
            <a:r>
              <a:rPr lang="ru-RU" sz="1400" dirty="0"/>
              <a:t> – </a:t>
            </a:r>
            <a:r>
              <a:rPr lang="ru-RU" sz="1400" dirty="0" err="1"/>
              <a:t>Output</a:t>
            </a:r>
            <a:r>
              <a:rPr lang="ru-RU" sz="1400" dirty="0"/>
              <a:t> – </a:t>
            </a:r>
            <a:r>
              <a:rPr lang="ru-RU" sz="1400" dirty="0" err="1" smtClean="0"/>
              <a:t>Customer</a:t>
            </a:r>
            <a:endParaRPr lang="ru-RU"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6363" y="1249304"/>
            <a:ext cx="6074475" cy="3714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6169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787" y="14287"/>
            <a:ext cx="7972425" cy="511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0341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32509" y="344384"/>
            <a:ext cx="8562109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FF0000"/>
                </a:solidFill>
              </a:rPr>
              <a:t>Поток</a:t>
            </a:r>
            <a:r>
              <a:rPr lang="ru-RU" sz="1800" dirty="0" smtClean="0"/>
              <a:t> –способность процесса эффективно реализовывать определенный набор операций;</a:t>
            </a:r>
          </a:p>
          <a:p>
            <a:r>
              <a:rPr lang="ru-RU" sz="1800" b="1" dirty="0" smtClean="0">
                <a:solidFill>
                  <a:srgbClr val="FF0000"/>
                </a:solidFill>
              </a:rPr>
              <a:t>Процесс </a:t>
            </a:r>
            <a:r>
              <a:rPr lang="ru-RU" sz="1800" dirty="0" smtClean="0"/>
              <a:t>– совокупность последовательных действий, направленных на достижение результата;</a:t>
            </a:r>
          </a:p>
          <a:p>
            <a:r>
              <a:rPr lang="ru-RU" sz="1800" b="1" dirty="0" smtClean="0">
                <a:solidFill>
                  <a:srgbClr val="FF0000"/>
                </a:solidFill>
              </a:rPr>
              <a:t>Ценность</a:t>
            </a:r>
            <a:r>
              <a:rPr lang="ru-RU" sz="1800" dirty="0" smtClean="0"/>
              <a:t> – полезность, присущая продукту с точки зрения потребителя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r>
              <a:rPr lang="ru-RU" dirty="0" smtClean="0"/>
              <a:t>Все </a:t>
            </a:r>
            <a:r>
              <a:rPr lang="ru-RU" dirty="0"/>
              <a:t>действия, которые составляют поток создания </a:t>
            </a:r>
            <a:r>
              <a:rPr lang="ru-RU" dirty="0" err="1" smtClean="0"/>
              <a:t>катего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382" y="1821712"/>
            <a:ext cx="4800724" cy="315986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309816" y="2316730"/>
            <a:ext cx="3325091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dirty="0" smtClean="0"/>
              <a:t>действия</a:t>
            </a:r>
            <a:r>
              <a:rPr lang="ru-RU" dirty="0"/>
              <a:t>, создающие </a:t>
            </a:r>
            <a:r>
              <a:rPr lang="ru-RU" dirty="0" smtClean="0"/>
              <a:t>ценность</a:t>
            </a:r>
          </a:p>
          <a:p>
            <a:pPr marL="342900" indent="-342900">
              <a:buAutoNum type="arabicPeriod"/>
            </a:pPr>
            <a:r>
              <a:rPr lang="ru-RU" dirty="0" smtClean="0"/>
              <a:t>действия</a:t>
            </a:r>
            <a:r>
              <a:rPr lang="ru-RU" dirty="0"/>
              <a:t>, не создающие ценность, но неизбежные в силу ряда причин, например </a:t>
            </a:r>
            <a:r>
              <a:rPr lang="ru-RU" dirty="0" smtClean="0"/>
              <a:t>технологических;</a:t>
            </a:r>
          </a:p>
          <a:p>
            <a:pPr marL="342900" indent="-342900">
              <a:buAutoNum type="arabicPeriod"/>
            </a:pPr>
            <a:r>
              <a:rPr lang="ru-RU" dirty="0" smtClean="0"/>
              <a:t>действия</a:t>
            </a:r>
            <a:r>
              <a:rPr lang="ru-RU" dirty="0"/>
              <a:t>, не создающие ценность, которые можно немедленно исключить из процесса (муда второго рода).</a:t>
            </a:r>
          </a:p>
        </p:txBody>
      </p:sp>
    </p:spTree>
    <p:extLst>
      <p:ext uri="{BB962C8B-B14F-4D97-AF65-F5344CB8AC3E}">
        <p14:creationId xmlns:p14="http://schemas.microsoft.com/office/powerpoint/2010/main" val="14947811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89187" y="218873"/>
            <a:ext cx="8671034" cy="3804046"/>
          </a:xfrm>
        </p:spPr>
        <p:txBody>
          <a:bodyPr>
            <a:normAutofit/>
          </a:bodyPr>
          <a:lstStyle/>
          <a:p>
            <a:r>
              <a:rPr lang="ru-RU" sz="2000" dirty="0"/>
              <a:t/>
            </a:r>
            <a:br>
              <a:rPr lang="ru-RU" sz="2000" dirty="0"/>
            </a:br>
            <a:r>
              <a:rPr lang="en-US" sz="2000" dirty="0"/>
              <a:t/>
            </a:r>
            <a:br>
              <a:rPr lang="en-US" sz="2000" dirty="0"/>
            </a:br>
            <a:r>
              <a:rPr lang="ru-RU" sz="1400" dirty="0"/>
              <a:t/>
            </a:r>
            <a:br>
              <a:rPr lang="ru-RU" sz="1400" dirty="0"/>
            </a:br>
            <a:endParaRPr lang="ru-RU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432620" y="304799"/>
            <a:ext cx="8427601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  <a:p>
            <a:r>
              <a:rPr lang="ru-RU" b="1" dirty="0">
                <a:solidFill>
                  <a:srgbClr val="FF0000"/>
                </a:solidFill>
              </a:rPr>
              <a:t>Поток создания ценности (</a:t>
            </a:r>
            <a:r>
              <a:rPr lang="ru-RU" b="1" dirty="0" err="1">
                <a:solidFill>
                  <a:srgbClr val="FF0000"/>
                </a:solidFill>
              </a:rPr>
              <a:t>Value</a:t>
            </a: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b="1" dirty="0" err="1" smtClean="0">
                <a:solidFill>
                  <a:srgbClr val="FF0000"/>
                </a:solidFill>
              </a:rPr>
              <a:t>Stream</a:t>
            </a:r>
            <a:r>
              <a:rPr lang="ru-RU" b="1" dirty="0" smtClean="0">
                <a:solidFill>
                  <a:srgbClr val="FF0000"/>
                </a:solidFill>
              </a:rPr>
              <a:t>) </a:t>
            </a:r>
            <a:r>
              <a:rPr lang="ru-RU" b="1" dirty="0" smtClean="0"/>
              <a:t>-</a:t>
            </a:r>
            <a:r>
              <a:rPr lang="ru-RU" dirty="0"/>
              <a:t>в</a:t>
            </a:r>
            <a:r>
              <a:rPr lang="ru-RU" dirty="0" smtClean="0"/>
              <a:t>се </a:t>
            </a:r>
            <a:r>
              <a:rPr lang="ru-RU" dirty="0"/>
              <a:t>действия — как создающие ценность, так и не создающие ценности, — которые позволяют продукту пройти все процессы от разработки концепции до запуска в производство и от принятия заказа до его доставки. Данные действия включают в себя обработку информации, полученной от клиента, а также операции по преобразованию продукта по мере его продвижения к клиенту.</a:t>
            </a:r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8082" y="2417586"/>
            <a:ext cx="6261498" cy="2380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4779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89187" y="218873"/>
            <a:ext cx="8671034" cy="3804046"/>
          </a:xfrm>
        </p:spPr>
        <p:txBody>
          <a:bodyPr>
            <a:normAutofit/>
          </a:bodyPr>
          <a:lstStyle/>
          <a:p>
            <a:r>
              <a:rPr lang="ru-RU" sz="2000" dirty="0"/>
              <a:t/>
            </a:r>
            <a:br>
              <a:rPr lang="ru-RU" sz="2000" dirty="0"/>
            </a:br>
            <a:r>
              <a:rPr lang="en-US" sz="2000" dirty="0"/>
              <a:t/>
            </a:r>
            <a:br>
              <a:rPr lang="en-US" sz="2000" dirty="0"/>
            </a:br>
            <a:r>
              <a:rPr lang="ru-RU" sz="1400" dirty="0"/>
              <a:t/>
            </a:r>
            <a:br>
              <a:rPr lang="ru-RU" sz="1400" dirty="0"/>
            </a:br>
            <a:endParaRPr lang="ru-RU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432620" y="304799"/>
            <a:ext cx="8427601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  <a:p>
            <a:r>
              <a:rPr lang="ru-RU" b="1" dirty="0" smtClean="0">
                <a:solidFill>
                  <a:srgbClr val="FF0000"/>
                </a:solidFill>
              </a:rPr>
              <a:t>Карта потока создания ценности </a:t>
            </a:r>
            <a:r>
              <a:rPr lang="ru-RU" b="1" dirty="0"/>
              <a:t> </a:t>
            </a:r>
            <a:r>
              <a:rPr lang="ru-RU" dirty="0"/>
              <a:t>— это достаточно простая и наглядная графическая схема, изображающая материальные и информационные потоки, необходимые для предоставления продукта или услуги конечному потребителю. Карта потока создания ценности дает возможность сразу увидеть узкие места потока и на основе его анализа выявить все непроизводительные затраты и процессы, разработать план улучшений.</a:t>
            </a:r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501" y="2474624"/>
            <a:ext cx="4143375" cy="24765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434876" y="3559447"/>
            <a:ext cx="39188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Картирование</a:t>
            </a:r>
            <a:r>
              <a:rPr lang="ru-RU" dirty="0"/>
              <a:t> – визуализированное описание в определённой форме потока (материального, информационного) создания ценности бизнес-процесса. Картирование производится в условиях «как есть», «как должно быть» и «как будет»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8112" y="1508478"/>
            <a:ext cx="4564423" cy="1597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3063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961901" y="130629"/>
            <a:ext cx="71014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Поток в бережливом производстве</a:t>
            </a:r>
            <a:endParaRPr lang="ru-RU" sz="2000" dirty="0"/>
          </a:p>
        </p:txBody>
      </p:sp>
      <p:sp>
        <p:nvSpPr>
          <p:cNvPr id="6" name="TextBox 5"/>
          <p:cNvSpPr txBox="1"/>
          <p:nvPr/>
        </p:nvSpPr>
        <p:spPr>
          <a:xfrm>
            <a:off x="237506" y="728968"/>
            <a:ext cx="3123211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Материальный поток</a:t>
            </a:r>
            <a:r>
              <a:rPr lang="ru-RU" dirty="0">
                <a:solidFill>
                  <a:srgbClr val="FF0000"/>
                </a:solidFill>
              </a:rPr>
              <a:t> </a:t>
            </a:r>
            <a:r>
              <a:rPr lang="ru-RU" dirty="0"/>
              <a:t>— это все материальные ресурсы производства, в том числе используемые в процессе производства, к которым применяются операции, связанные с их физическим перемещением, например: </a:t>
            </a:r>
            <a:r>
              <a:rPr lang="ru-RU" dirty="0" smtClean="0"/>
              <a:t>обработка, контроль, транспортировка, хранение.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4334494" y="3416008"/>
            <a:ext cx="40732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Информационный поток</a:t>
            </a:r>
            <a:r>
              <a:rPr lang="ru-RU" dirty="0"/>
              <a:t> — </a:t>
            </a:r>
            <a:r>
              <a:rPr lang="ru-RU" dirty="0" smtClean="0"/>
              <a:t>поток информации( заказы, обратная связь, планы, графики, прогнозы и пр.), необходимые для проектирования материального ПСЦ.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381" y="3080574"/>
            <a:ext cx="2995336" cy="197167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/>
          <a:srcRect l="8741"/>
          <a:stretch/>
        </p:blipFill>
        <p:spPr>
          <a:xfrm>
            <a:off x="4334494" y="910749"/>
            <a:ext cx="4702627" cy="244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1668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89187" y="218873"/>
            <a:ext cx="8671034" cy="3804046"/>
          </a:xfrm>
        </p:spPr>
        <p:txBody>
          <a:bodyPr>
            <a:normAutofit/>
          </a:bodyPr>
          <a:lstStyle/>
          <a:p>
            <a:r>
              <a:rPr lang="ru-RU" sz="2000" dirty="0"/>
              <a:t/>
            </a:r>
            <a:br>
              <a:rPr lang="ru-RU" sz="2000" dirty="0"/>
            </a:br>
            <a:r>
              <a:rPr lang="en-US" sz="2000" dirty="0"/>
              <a:t/>
            </a:r>
            <a:br>
              <a:rPr lang="en-US" sz="2000" dirty="0"/>
            </a:br>
            <a:r>
              <a:rPr lang="ru-RU" sz="1400" dirty="0"/>
              <a:t/>
            </a:r>
            <a:br>
              <a:rPr lang="ru-RU" sz="1400" dirty="0"/>
            </a:br>
            <a:endParaRPr lang="ru-RU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432620" y="304799"/>
            <a:ext cx="842760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  <a:p>
            <a:r>
              <a:rPr lang="ru-RU" b="1" dirty="0" smtClean="0">
                <a:solidFill>
                  <a:srgbClr val="FF0000"/>
                </a:solidFill>
              </a:rPr>
              <a:t>Функции карты потока создания ценности</a:t>
            </a:r>
          </a:p>
          <a:p>
            <a:endParaRPr lang="ru-RU" b="1" dirty="0">
              <a:solidFill>
                <a:srgbClr val="FF0000"/>
              </a:solidFill>
            </a:endParaRPr>
          </a:p>
          <a:p>
            <a:r>
              <a:rPr lang="ru-RU" dirty="0" smtClean="0"/>
              <a:t>1.Наглядное представление процесса изготовления продукта;</a:t>
            </a:r>
          </a:p>
          <a:p>
            <a:r>
              <a:rPr lang="ru-RU" dirty="0" smtClean="0"/>
              <a:t>2. Увидеть источники потерь в потоке ценности;</a:t>
            </a:r>
          </a:p>
          <a:p>
            <a:r>
              <a:rPr lang="ru-RU" dirty="0" smtClean="0"/>
              <a:t>3. Служит «универсальным языком» для всех специалистов, на котором можно обсуждать производственные процессы;</a:t>
            </a:r>
          </a:p>
          <a:p>
            <a:r>
              <a:rPr lang="ru-RU" dirty="0" smtClean="0"/>
              <a:t>4.Сформировать понимания какой из инструментов бережливого производства будет наиболее оптимальным для нивелирования выявленных проблем;</a:t>
            </a:r>
          </a:p>
          <a:p>
            <a:r>
              <a:rPr lang="ru-RU" dirty="0" smtClean="0"/>
              <a:t>5.Показывает связь между материальным и информационным потоком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106" y="2820495"/>
            <a:ext cx="6384471" cy="2021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5150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14615" y="284309"/>
            <a:ext cx="70923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Некоторые типы карт потоков, которые позже будут проиллюстрированы на примере одного и того же потока – процесса приготовления кофе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2283" y="937452"/>
            <a:ext cx="3962894" cy="407962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5430" y="937452"/>
            <a:ext cx="4638570" cy="3232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8026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68834" y="20231"/>
            <a:ext cx="8352544" cy="655419"/>
          </a:xfrm>
        </p:spPr>
        <p:txBody>
          <a:bodyPr/>
          <a:lstStyle/>
          <a:p>
            <a:pPr algn="ctr"/>
            <a:r>
              <a:rPr lang="ru-RU" dirty="0"/>
              <a:t>4.2 Блок-схем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641" y="1024991"/>
            <a:ext cx="7752110" cy="3541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530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68834" y="20231"/>
            <a:ext cx="8352544" cy="655419"/>
          </a:xfrm>
        </p:spPr>
        <p:txBody>
          <a:bodyPr/>
          <a:lstStyle/>
          <a:p>
            <a:pPr algn="ctr"/>
            <a:r>
              <a:rPr lang="ru-RU" dirty="0"/>
              <a:t>Функциональная блок-схем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252" y="1145764"/>
            <a:ext cx="7934605" cy="30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2834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heme/_rels/them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image" Target="../media/image11.jpeg"/></Relationships>
</file>

<file path=ppt/theme/theme1.xml><?xml version="1.0" encoding="utf-8"?>
<a:theme xmlns:a="http://schemas.openxmlformats.org/drawingml/2006/main" name="Default Theme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heme" id="{C2B3E2E2-877C-4A0B-9E6A-75E2663F6E33}" vid="{95D91212-3B27-474D-90AD-EE89DE4EAB2D}"/>
    </a:ext>
  </a:extLst>
</a:theme>
</file>

<file path=ppt/theme/theme10.xml><?xml version="1.0" encoding="utf-8"?>
<a:theme xmlns:a="http://schemas.openxmlformats.org/drawingml/2006/main" name="1_Две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D940D6A-50B1-40A0-A849-B42380E2A9FB}"/>
    </a:ext>
  </a:extLst>
</a:theme>
</file>

<file path=ppt/theme/theme11.xml><?xml version="1.0" encoding="utf-8"?>
<a:theme xmlns:a="http://schemas.openxmlformats.org/drawingml/2006/main" name="1_Три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5269E648-71A4-4CBE-B97A-02063611A9B8}"/>
    </a:ext>
  </a:extLst>
</a:theme>
</file>

<file path=ppt/theme/theme12.xml><?xml version="1.0" encoding="utf-8"?>
<a:theme xmlns:a="http://schemas.openxmlformats.org/drawingml/2006/main" name="1_Четыре колонки и более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AABA556F-02CD-43B5-A156-2EE10DC9F001}"/>
    </a:ext>
  </a:extLst>
</a:theme>
</file>

<file path=ppt/theme/theme13.xml><?xml version="1.0" encoding="utf-8"?>
<a:theme xmlns:a="http://schemas.openxmlformats.org/drawingml/2006/main" name="1_Схем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F50E1E-3D05-4BE1-A397-94D3F541EF7E}"/>
    </a:ext>
  </a:extLst>
</a:theme>
</file>

<file path=ppt/theme/theme14.xml><?xml version="1.0" encoding="utf-8"?>
<a:theme xmlns:a="http://schemas.openxmlformats.org/drawingml/2006/main" name="2_Базовые слайд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27DC22F-5057-47A5-B5B5-5E0342230871}"/>
    </a:ext>
  </a:extLst>
</a:theme>
</file>

<file path=ppt/theme/theme15.xml><?xml version="1.0" encoding="utf-8"?>
<a:theme xmlns:a="http://schemas.openxmlformats.org/drawingml/2006/main" name="2_Две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D940D6A-50B1-40A0-A849-B42380E2A9FB}"/>
    </a:ext>
  </a:extLst>
</a:theme>
</file>

<file path=ppt/theme/theme16.xml><?xml version="1.0" encoding="utf-8"?>
<a:theme xmlns:a="http://schemas.openxmlformats.org/drawingml/2006/main" name="2_Четыре колонки и более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AABA556F-02CD-43B5-A156-2EE10DC9F001}"/>
    </a:ext>
  </a:extLst>
</a:theme>
</file>

<file path=ppt/theme/theme17.xml><?xml version="1.0" encoding="utf-8"?>
<a:theme xmlns:a="http://schemas.openxmlformats.org/drawingml/2006/main" name="3_Базовые слайд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27DC22F-5057-47A5-B5B5-5E0342230871}"/>
    </a:ext>
  </a:extLst>
</a:theme>
</file>

<file path=ppt/theme/theme18.xml><?xml version="1.0" encoding="utf-8"?>
<a:theme xmlns:a="http://schemas.openxmlformats.org/drawingml/2006/main" name="3_Две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D940D6A-50B1-40A0-A849-B42380E2A9FB}"/>
    </a:ext>
  </a:extLst>
</a:theme>
</file>

<file path=ppt/theme/theme19.xml><?xml version="1.0" encoding="utf-8"?>
<a:theme xmlns:a="http://schemas.openxmlformats.org/drawingml/2006/main" name="3_Четыре колонки и более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AABA556F-02CD-43B5-A156-2EE10DC9F001}"/>
    </a:ext>
  </a:extLst>
</a:theme>
</file>

<file path=ppt/theme/theme2.xml><?xml version="1.0" encoding="utf-8"?>
<a:theme xmlns:a="http://schemas.openxmlformats.org/drawingml/2006/main" name="Базовые слайд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27DC22F-5057-47A5-B5B5-5E0342230871}"/>
    </a:ext>
  </a:extLst>
</a:theme>
</file>

<file path=ppt/theme/theme20.xml><?xml version="1.0" encoding="utf-8"?>
<a:theme xmlns:a="http://schemas.openxmlformats.org/drawingml/2006/main" name="3_Схем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F50E1E-3D05-4BE1-A397-94D3F541EF7E}"/>
    </a:ext>
  </a:extLst>
</a:theme>
</file>

<file path=ppt/theme/theme21.xml><?xml version="1.0" encoding="utf-8"?>
<a:theme xmlns:a="http://schemas.openxmlformats.org/drawingml/2006/main" name="Интеграл">
  <a:themeElements>
    <a:clrScheme name="Интеграл">
      <a:dk1>
        <a:sysClr val="windowText" lastClr="000000"/>
      </a:dk1>
      <a:lt1>
        <a:sysClr val="window" lastClr="FFFFFF"/>
      </a:lt1>
      <a:dk2>
        <a:srgbClr val="514949"/>
      </a:dk2>
      <a:lt2>
        <a:srgbClr val="E1E1DB"/>
      </a:lt2>
      <a:accent1>
        <a:srgbClr val="9DBFBE"/>
      </a:accent1>
      <a:accent2>
        <a:srgbClr val="DB8631"/>
      </a:accent2>
      <a:accent3>
        <a:srgbClr val="E3CC5A"/>
      </a:accent3>
      <a:accent4>
        <a:srgbClr val="ACADA8"/>
      </a:accent4>
      <a:accent5>
        <a:srgbClr val="927C61"/>
      </a:accent5>
      <a:accent6>
        <a:srgbClr val="B3B435"/>
      </a:accent6>
      <a:hlink>
        <a:srgbClr val="0000FF"/>
      </a:hlink>
      <a:folHlink>
        <a:srgbClr val="800080"/>
      </a:folHlink>
    </a:clrScheme>
    <a:fontScheme name="Интеграл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Интеграл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8000"/>
              </a:schemeClr>
              <a:schemeClr val="phClr">
                <a:shade val="89000"/>
                <a:satMod val="145000"/>
              </a:schemeClr>
            </a:duotone>
          </a:blip>
          <a:tile tx="0" ty="0" sx="32000" sy="32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</a:schemeClr>
              <a:schemeClr val="phClr">
                <a:shade val="95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B4028482-F53A-4442-AB14-9B7A43F44F96}"/>
    </a:ext>
  </a:extLst>
</a:theme>
</file>

<file path=ppt/theme/theme3.xml><?xml version="1.0" encoding="utf-8"?>
<a:theme xmlns:a="http://schemas.openxmlformats.org/drawingml/2006/main" name="Одна колонка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EEE22C-7C20-404B-9A68-8AF6E11D89F5}"/>
    </a:ext>
  </a:extLst>
</a:theme>
</file>

<file path=ppt/theme/theme4.xml><?xml version="1.0" encoding="utf-8"?>
<a:theme xmlns:a="http://schemas.openxmlformats.org/drawingml/2006/main" name="Две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D940D6A-50B1-40A0-A849-B42380E2A9FB}"/>
    </a:ext>
  </a:extLst>
</a:theme>
</file>

<file path=ppt/theme/theme5.xml><?xml version="1.0" encoding="utf-8"?>
<a:theme xmlns:a="http://schemas.openxmlformats.org/drawingml/2006/main" name="Три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5269E648-71A4-4CBE-B97A-02063611A9B8}"/>
    </a:ext>
  </a:extLst>
</a:theme>
</file>

<file path=ppt/theme/theme6.xml><?xml version="1.0" encoding="utf-8"?>
<a:theme xmlns:a="http://schemas.openxmlformats.org/drawingml/2006/main" name="Четыре колонки и более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AABA556F-02CD-43B5-A156-2EE10DC9F001}"/>
    </a:ext>
  </a:extLst>
</a:theme>
</file>

<file path=ppt/theme/theme7.xml><?xml version="1.0" encoding="utf-8"?>
<a:theme xmlns:a="http://schemas.openxmlformats.org/drawingml/2006/main" name="Схем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F50E1E-3D05-4BE1-A397-94D3F541EF7E}"/>
    </a:ext>
  </a:extLst>
</a:theme>
</file>

<file path=ppt/theme/theme8.xml><?xml version="1.0" encoding="utf-8"?>
<a:theme xmlns:a="http://schemas.openxmlformats.org/drawingml/2006/main" name="1_Базовые слайд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27DC22F-5057-47A5-B5B5-5E0342230871}"/>
    </a:ext>
  </a:extLst>
</a:theme>
</file>

<file path=ppt/theme/theme9.xml><?xml version="1.0" encoding="utf-8"?>
<a:theme xmlns:a="http://schemas.openxmlformats.org/drawingml/2006/main" name="1_Одна колонка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EEE22C-7C20-404B-9A68-8AF6E11D89F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716</TotalTime>
  <Words>287</Words>
  <Application>Microsoft Office PowerPoint</Application>
  <PresentationFormat>Экран (16:9)</PresentationFormat>
  <Paragraphs>57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41" baseType="lpstr">
      <vt:lpstr>Arial</vt:lpstr>
      <vt:lpstr>Calibri</vt:lpstr>
      <vt:lpstr>Tw Cen MT</vt:lpstr>
      <vt:lpstr>Tw Cen MT Condensed</vt:lpstr>
      <vt:lpstr>Wingdings</vt:lpstr>
      <vt:lpstr>Wingdings 3</vt:lpstr>
      <vt:lpstr>Default Theme</vt:lpstr>
      <vt:lpstr>Базовые слайды</vt:lpstr>
      <vt:lpstr>Одна колонка</vt:lpstr>
      <vt:lpstr>Две колонки</vt:lpstr>
      <vt:lpstr>Три колонки</vt:lpstr>
      <vt:lpstr>Четыре колонки и более</vt:lpstr>
      <vt:lpstr>Схемы</vt:lpstr>
      <vt:lpstr>1_Базовые слайды</vt:lpstr>
      <vt:lpstr>1_Одна колонка</vt:lpstr>
      <vt:lpstr>1_Две колонки</vt:lpstr>
      <vt:lpstr>1_Три колонки</vt:lpstr>
      <vt:lpstr>1_Четыре колонки и более</vt:lpstr>
      <vt:lpstr>1_Схемы</vt:lpstr>
      <vt:lpstr>2_Базовые слайды</vt:lpstr>
      <vt:lpstr>2_Две колонки</vt:lpstr>
      <vt:lpstr>2_Четыре колонки и более</vt:lpstr>
      <vt:lpstr>3_Базовые слайды</vt:lpstr>
      <vt:lpstr>3_Две колонки</vt:lpstr>
      <vt:lpstr>3_Четыре колонки и более</vt:lpstr>
      <vt:lpstr>3_Схемы</vt:lpstr>
      <vt:lpstr>Интеграл</vt:lpstr>
      <vt:lpstr>Слайд think-cell</vt:lpstr>
      <vt:lpstr>Понятие потока создания ценности </vt:lpstr>
      <vt:lpstr>Презентация PowerPoint</vt:lpstr>
      <vt:lpstr>   </vt:lpstr>
      <vt:lpstr>   </vt:lpstr>
      <vt:lpstr>Презентация PowerPoint</vt:lpstr>
      <vt:lpstr>   </vt:lpstr>
      <vt:lpstr>Презентация PowerPoint</vt:lpstr>
      <vt:lpstr>4.2 Блок-схема</vt:lpstr>
      <vt:lpstr>Функциональная блок-схема</vt:lpstr>
      <vt:lpstr>Блок-схема добавленной ценности</vt:lpstr>
      <vt:lpstr>Диаграмма спагетти</vt:lpstr>
      <vt:lpstr>SIPOC диаграмма </vt:lpstr>
      <vt:lpstr>Презентация PowerPoint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арта потока создания ценности</dc:title>
  <dc:creator>Бобок Елена Александровна</dc:creator>
  <cp:lastModifiedBy>Elena</cp:lastModifiedBy>
  <cp:revision>24</cp:revision>
  <dcterms:created xsi:type="dcterms:W3CDTF">2021-02-04T13:09:08Z</dcterms:created>
  <dcterms:modified xsi:type="dcterms:W3CDTF">2023-01-27T12:00:12Z</dcterms:modified>
</cp:coreProperties>
</file>